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738" r:id="rId5"/>
    <p:sldMasterId id="2147483752" r:id="rId6"/>
  </p:sldMasterIdLst>
  <p:notesMasterIdLst>
    <p:notesMasterId r:id="rId40"/>
  </p:notesMasterIdLst>
  <p:sldIdLst>
    <p:sldId id="256" r:id="rId7"/>
    <p:sldId id="496" r:id="rId8"/>
    <p:sldId id="6941" r:id="rId9"/>
    <p:sldId id="7008" r:id="rId10"/>
    <p:sldId id="7042" r:id="rId11"/>
    <p:sldId id="7081" r:id="rId12"/>
    <p:sldId id="7083" r:id="rId13"/>
    <p:sldId id="7085" r:id="rId14"/>
    <p:sldId id="7096" r:id="rId15"/>
    <p:sldId id="7087" r:id="rId16"/>
    <p:sldId id="7088" r:id="rId17"/>
    <p:sldId id="7089" r:id="rId18"/>
    <p:sldId id="7090" r:id="rId19"/>
    <p:sldId id="7091" r:id="rId20"/>
    <p:sldId id="7092" r:id="rId21"/>
    <p:sldId id="7093" r:id="rId22"/>
    <p:sldId id="7094" r:id="rId23"/>
    <p:sldId id="7095" r:id="rId24"/>
    <p:sldId id="7098" r:id="rId25"/>
    <p:sldId id="7099" r:id="rId26"/>
    <p:sldId id="7100" r:id="rId27"/>
    <p:sldId id="7101" r:id="rId28"/>
    <p:sldId id="7102" r:id="rId29"/>
    <p:sldId id="7103" r:id="rId30"/>
    <p:sldId id="7104" r:id="rId31"/>
    <p:sldId id="7105" r:id="rId32"/>
    <p:sldId id="7106" r:id="rId33"/>
    <p:sldId id="7107" r:id="rId34"/>
    <p:sldId id="7108" r:id="rId35"/>
    <p:sldId id="7109" r:id="rId36"/>
    <p:sldId id="7110" r:id="rId37"/>
    <p:sldId id="7111" r:id="rId38"/>
    <p:sldId id="7112" r:id="rId3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21150"/>
    <a:srgbClr val="872AE1"/>
    <a:srgbClr val="FF0C60"/>
    <a:srgbClr val="1E3E26"/>
    <a:srgbClr val="EAEAEA"/>
    <a:srgbClr val="A7D3FF"/>
    <a:srgbClr val="0A6C31"/>
    <a:srgbClr val="DB4200"/>
    <a:srgbClr val="67829F"/>
    <a:srgbClr val="4167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D3E2E8A-D594-1ADA-84B6-84F9E7B08A14}" v="48" dt="2022-05-23T18:46:42.283"/>
    <p1510:client id="{2166E711-0DC6-A408-EE3B-28E979E989B0}" v="88" dt="2022-05-24T15:01:47.427"/>
    <p1510:client id="{3CFCE0B4-404C-4024-9998-7158682BCF02}" v="132" dt="2022-05-17T16:46:24.173"/>
    <p1510:client id="{AF466CA0-58C4-6FC3-B924-D0ADECF799E1}" v="11" dt="2022-05-24T03:43:58.965"/>
    <p1510:client id="{B2B2C0E9-61C3-8209-0D9F-F741D9AACF50}" v="209" dt="2022-05-24T16:34:53.016"/>
    <p1510:client id="{E8DE4F90-0796-9B09-D84B-AD4CE8C737EC}" v="5" dt="2022-05-12T15:57:51.304"/>
    <p1510:client id="{E9EECC46-0839-014D-A9F6-7CC27BC82552}" v="23" dt="2022-05-11T21:21:30.65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viewProps" Target="viewProp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notesMaster" Target="notesMasters/notesMaster1.xml"/><Relationship Id="rId45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theme" Target="theme/theme1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20" Type="http://schemas.openxmlformats.org/officeDocument/2006/relationships/slide" Target="slides/slide14.xml"/><Relationship Id="rId41" Type="http://schemas.openxmlformats.org/officeDocument/2006/relationships/presProps" Target="presProps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svg"/><Relationship Id="rId1" Type="http://schemas.openxmlformats.org/officeDocument/2006/relationships/image" Target="../media/image15.png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svg"/></Relationships>
</file>

<file path=ppt/diagrams/_rels/data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35.svg"/><Relationship Id="rId2" Type="http://schemas.openxmlformats.org/officeDocument/2006/relationships/image" Target="../media/image25.svg"/><Relationship Id="rId1" Type="http://schemas.openxmlformats.org/officeDocument/2006/relationships/image" Target="../media/image24.png"/><Relationship Id="rId6" Type="http://schemas.openxmlformats.org/officeDocument/2006/relationships/image" Target="../media/image29.sv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0" Type="http://schemas.openxmlformats.org/officeDocument/2006/relationships/image" Target="../media/image33.svg"/><Relationship Id="rId4" Type="http://schemas.openxmlformats.org/officeDocument/2006/relationships/image" Target="../media/image27.svg"/><Relationship Id="rId9" Type="http://schemas.openxmlformats.org/officeDocument/2006/relationships/image" Target="../media/image32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svg"/><Relationship Id="rId1" Type="http://schemas.openxmlformats.org/officeDocument/2006/relationships/image" Target="../media/image15.png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svg"/></Relationships>
</file>

<file path=ppt/diagrams/_rels/drawing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35.svg"/><Relationship Id="rId2" Type="http://schemas.openxmlformats.org/officeDocument/2006/relationships/image" Target="../media/image25.svg"/><Relationship Id="rId1" Type="http://schemas.openxmlformats.org/officeDocument/2006/relationships/image" Target="../media/image24.png"/><Relationship Id="rId6" Type="http://schemas.openxmlformats.org/officeDocument/2006/relationships/image" Target="../media/image29.sv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0" Type="http://schemas.openxmlformats.org/officeDocument/2006/relationships/image" Target="../media/image33.svg"/><Relationship Id="rId4" Type="http://schemas.openxmlformats.org/officeDocument/2006/relationships/image" Target="../media/image27.svg"/><Relationship Id="rId9" Type="http://schemas.openxmlformats.org/officeDocument/2006/relationships/image" Target="../media/image32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icontext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bg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7879C36-56A8-4084-A4EC-C974E023654E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icontext_colorful1" csCatId="colorful" phldr="1"/>
      <dgm:spPr/>
      <dgm:t>
        <a:bodyPr/>
        <a:lstStyle/>
        <a:p>
          <a:endParaRPr lang="en-US"/>
        </a:p>
      </dgm:t>
    </dgm:pt>
    <dgm:pt modelId="{BAF7C9E4-1FE5-4D3C-A634-1E8F8B15D482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/>
            <a:t>Integrity </a:t>
          </a:r>
          <a:r>
            <a:rPr lang="en-US"/>
            <a:t>– We act honestly and transparently.  </a:t>
          </a:r>
        </a:p>
      </dgm:t>
    </dgm:pt>
    <dgm:pt modelId="{62F09175-89C5-4C57-B613-3FBBA0BB302C}" type="parTrans" cxnId="{B3673ECF-B061-4920-A43E-2EED62173535}">
      <dgm:prSet/>
      <dgm:spPr/>
      <dgm:t>
        <a:bodyPr/>
        <a:lstStyle/>
        <a:p>
          <a:endParaRPr lang="en-US"/>
        </a:p>
      </dgm:t>
    </dgm:pt>
    <dgm:pt modelId="{72C4E717-63D3-4A9A-B786-0561B0DC2EAE}" type="sibTrans" cxnId="{B3673ECF-B061-4920-A43E-2EED62173535}">
      <dgm:prSet/>
      <dgm:spPr/>
      <dgm:t>
        <a:bodyPr/>
        <a:lstStyle/>
        <a:p>
          <a:endParaRPr lang="en-US"/>
        </a:p>
      </dgm:t>
    </dgm:pt>
    <dgm:pt modelId="{46DE1E07-D743-47AF-944C-97C5EF1B0292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/>
            <a:t>Respect </a:t>
          </a:r>
          <a:r>
            <a:rPr lang="en-US"/>
            <a:t>– We treat everyone with respect, cultivate an inclusive and constructive environment for all, and always assume good intent.</a:t>
          </a:r>
        </a:p>
      </dgm:t>
    </dgm:pt>
    <dgm:pt modelId="{C66B526D-77E8-42B4-B6FE-C90C78374476}" type="parTrans" cxnId="{7248595C-8B0B-4DA0-AE0E-A5E62C40A0B2}">
      <dgm:prSet/>
      <dgm:spPr/>
      <dgm:t>
        <a:bodyPr/>
        <a:lstStyle/>
        <a:p>
          <a:endParaRPr lang="en-US"/>
        </a:p>
      </dgm:t>
    </dgm:pt>
    <dgm:pt modelId="{FEBD1733-C3C3-449B-A501-4A7718C3BAF2}" type="sibTrans" cxnId="{7248595C-8B0B-4DA0-AE0E-A5E62C40A0B2}">
      <dgm:prSet/>
      <dgm:spPr/>
      <dgm:t>
        <a:bodyPr/>
        <a:lstStyle/>
        <a:p>
          <a:endParaRPr lang="en-US"/>
        </a:p>
      </dgm:t>
    </dgm:pt>
    <dgm:pt modelId="{278DAF69-EEE2-4570-BFB6-4E495240B512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/>
            <a:t>Growth Mindset</a:t>
          </a:r>
          <a:r>
            <a:rPr lang="en-US"/>
            <a:t> – We strive for excellence by empowering our staff to design the best solutions, continually improving along the way.</a:t>
          </a:r>
        </a:p>
      </dgm:t>
    </dgm:pt>
    <dgm:pt modelId="{558D045F-479E-4BA9-919A-9BD1C354BB45}" type="parTrans" cxnId="{0287F289-760F-489C-BF63-AA07E4C909A0}">
      <dgm:prSet/>
      <dgm:spPr/>
      <dgm:t>
        <a:bodyPr/>
        <a:lstStyle/>
        <a:p>
          <a:endParaRPr lang="en-US"/>
        </a:p>
      </dgm:t>
    </dgm:pt>
    <dgm:pt modelId="{6070F3A2-2C09-46A7-AF0C-FD3F447CE072}" type="sibTrans" cxnId="{0287F289-760F-489C-BF63-AA07E4C909A0}">
      <dgm:prSet/>
      <dgm:spPr/>
      <dgm:t>
        <a:bodyPr/>
        <a:lstStyle/>
        <a:p>
          <a:endParaRPr lang="en-US"/>
        </a:p>
      </dgm:t>
    </dgm:pt>
    <dgm:pt modelId="{CA6E2DA4-805A-4219-8FC2-2E617786A3D4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/>
            <a:t>Our Customers</a:t>
          </a:r>
          <a:r>
            <a:rPr lang="en-US"/>
            <a:t> – We exist to serve and protect our customers.  Our goal is to consistently deliver superior outcomes and make a difference for our customers. </a:t>
          </a:r>
        </a:p>
      </dgm:t>
    </dgm:pt>
    <dgm:pt modelId="{E1B77292-45B9-42CE-9687-17266F8503B3}" type="parTrans" cxnId="{B1B84FB1-D93C-450C-AED7-C098D5FD3F2A}">
      <dgm:prSet/>
      <dgm:spPr/>
      <dgm:t>
        <a:bodyPr/>
        <a:lstStyle/>
        <a:p>
          <a:endParaRPr lang="en-US"/>
        </a:p>
      </dgm:t>
    </dgm:pt>
    <dgm:pt modelId="{74BF38B8-B06B-47D2-A70E-BC225C7110CD}" type="sibTrans" cxnId="{B1B84FB1-D93C-450C-AED7-C098D5FD3F2A}">
      <dgm:prSet/>
      <dgm:spPr/>
      <dgm:t>
        <a:bodyPr/>
        <a:lstStyle/>
        <a:p>
          <a:endParaRPr lang="en-US"/>
        </a:p>
      </dgm:t>
    </dgm:pt>
    <dgm:pt modelId="{FC2971CA-E2DA-497A-B88C-2CD8DE477685}" type="pres">
      <dgm:prSet presAssocID="{47879C36-56A8-4084-A4EC-C974E023654E}" presName="root" presStyleCnt="0">
        <dgm:presLayoutVars>
          <dgm:dir/>
          <dgm:resizeHandles val="exact"/>
        </dgm:presLayoutVars>
      </dgm:prSet>
      <dgm:spPr/>
    </dgm:pt>
    <dgm:pt modelId="{24D766D1-CD73-40BA-ADD8-4925A3E28678}" type="pres">
      <dgm:prSet presAssocID="{BAF7C9E4-1FE5-4D3C-A634-1E8F8B15D482}" presName="compNode" presStyleCnt="0"/>
      <dgm:spPr/>
    </dgm:pt>
    <dgm:pt modelId="{2CB45774-DB33-463D-A1FC-0D2F2628DA9B}" type="pres">
      <dgm:prSet presAssocID="{BAF7C9E4-1FE5-4D3C-A634-1E8F8B15D482}" presName="bgRect" presStyleLbl="bgShp" presStyleIdx="0" presStyleCnt="4"/>
      <dgm:spPr/>
    </dgm:pt>
    <dgm:pt modelId="{9DCE9E2E-DFC2-43F0-A908-92E6B8492886}" type="pres">
      <dgm:prSet presAssocID="{BAF7C9E4-1FE5-4D3C-A634-1E8F8B15D482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cales of Justice"/>
        </a:ext>
      </dgm:extLst>
    </dgm:pt>
    <dgm:pt modelId="{45E9C4DE-BFA6-460D-ACD4-9CAD3C83A4CC}" type="pres">
      <dgm:prSet presAssocID="{BAF7C9E4-1FE5-4D3C-A634-1E8F8B15D482}" presName="spaceRect" presStyleCnt="0"/>
      <dgm:spPr/>
    </dgm:pt>
    <dgm:pt modelId="{F93B0A1A-536A-4BF0-8C1E-38CBA41E3033}" type="pres">
      <dgm:prSet presAssocID="{BAF7C9E4-1FE5-4D3C-A634-1E8F8B15D482}" presName="parTx" presStyleLbl="revTx" presStyleIdx="0" presStyleCnt="4">
        <dgm:presLayoutVars>
          <dgm:chMax val="0"/>
          <dgm:chPref val="0"/>
        </dgm:presLayoutVars>
      </dgm:prSet>
      <dgm:spPr/>
    </dgm:pt>
    <dgm:pt modelId="{5FB9529E-2160-4E18-9AF1-E80BFD23DB79}" type="pres">
      <dgm:prSet presAssocID="{72C4E717-63D3-4A9A-B786-0561B0DC2EAE}" presName="sibTrans" presStyleCnt="0"/>
      <dgm:spPr/>
    </dgm:pt>
    <dgm:pt modelId="{571A910C-915A-47BA-92BC-8B0276B0D8CD}" type="pres">
      <dgm:prSet presAssocID="{46DE1E07-D743-47AF-944C-97C5EF1B0292}" presName="compNode" presStyleCnt="0"/>
      <dgm:spPr/>
    </dgm:pt>
    <dgm:pt modelId="{33556901-E03D-4330-9AA8-15B744BC1821}" type="pres">
      <dgm:prSet presAssocID="{46DE1E07-D743-47AF-944C-97C5EF1B0292}" presName="bgRect" presStyleLbl="bgShp" presStyleIdx="1" presStyleCnt="4"/>
      <dgm:spPr/>
    </dgm:pt>
    <dgm:pt modelId="{95E858DB-9A6E-4E75-9D57-8D42AE42F561}" type="pres">
      <dgm:prSet presAssocID="{46DE1E07-D743-47AF-944C-97C5EF1B0292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Thumbs Up Sign"/>
        </a:ext>
      </dgm:extLst>
    </dgm:pt>
    <dgm:pt modelId="{660BB9F5-6385-45A7-B8F2-14D0DD6C78F8}" type="pres">
      <dgm:prSet presAssocID="{46DE1E07-D743-47AF-944C-97C5EF1B0292}" presName="spaceRect" presStyleCnt="0"/>
      <dgm:spPr/>
    </dgm:pt>
    <dgm:pt modelId="{FF816C56-B4FE-461A-9C87-87A250D8B1FF}" type="pres">
      <dgm:prSet presAssocID="{46DE1E07-D743-47AF-944C-97C5EF1B0292}" presName="parTx" presStyleLbl="revTx" presStyleIdx="1" presStyleCnt="4">
        <dgm:presLayoutVars>
          <dgm:chMax val="0"/>
          <dgm:chPref val="0"/>
        </dgm:presLayoutVars>
      </dgm:prSet>
      <dgm:spPr/>
    </dgm:pt>
    <dgm:pt modelId="{C8010C43-C958-4A15-9CFE-4F48B108C501}" type="pres">
      <dgm:prSet presAssocID="{FEBD1733-C3C3-449B-A501-4A7718C3BAF2}" presName="sibTrans" presStyleCnt="0"/>
      <dgm:spPr/>
    </dgm:pt>
    <dgm:pt modelId="{C381B9D2-DF5F-4BA0-82E6-B0EBF90769D7}" type="pres">
      <dgm:prSet presAssocID="{278DAF69-EEE2-4570-BFB6-4E495240B512}" presName="compNode" presStyleCnt="0"/>
      <dgm:spPr/>
    </dgm:pt>
    <dgm:pt modelId="{99039799-2042-45F0-AD21-EE49CCB79B0A}" type="pres">
      <dgm:prSet presAssocID="{278DAF69-EEE2-4570-BFB6-4E495240B512}" presName="bgRect" presStyleLbl="bgShp" presStyleIdx="2" presStyleCnt="4"/>
      <dgm:spPr>
        <a:solidFill>
          <a:srgbClr val="67829F"/>
        </a:solidFill>
      </dgm:spPr>
    </dgm:pt>
    <dgm:pt modelId="{B66290D9-E67B-4511-AC17-CB7594C7AC15}" type="pres">
      <dgm:prSet presAssocID="{278DAF69-EEE2-4570-BFB6-4E495240B512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pward trend"/>
        </a:ext>
      </dgm:extLst>
    </dgm:pt>
    <dgm:pt modelId="{62E5FD6F-F389-4210-8D72-F5C8D8AEF021}" type="pres">
      <dgm:prSet presAssocID="{278DAF69-EEE2-4570-BFB6-4E495240B512}" presName="spaceRect" presStyleCnt="0"/>
      <dgm:spPr/>
    </dgm:pt>
    <dgm:pt modelId="{565CEB58-9E47-4F77-AAC4-1F1F32C76BB3}" type="pres">
      <dgm:prSet presAssocID="{278DAF69-EEE2-4570-BFB6-4E495240B512}" presName="parTx" presStyleLbl="revTx" presStyleIdx="2" presStyleCnt="4">
        <dgm:presLayoutVars>
          <dgm:chMax val="0"/>
          <dgm:chPref val="0"/>
        </dgm:presLayoutVars>
      </dgm:prSet>
      <dgm:spPr/>
    </dgm:pt>
    <dgm:pt modelId="{23E85F05-9601-450A-82C9-DEC041909861}" type="pres">
      <dgm:prSet presAssocID="{6070F3A2-2C09-46A7-AF0C-FD3F447CE072}" presName="sibTrans" presStyleCnt="0"/>
      <dgm:spPr/>
    </dgm:pt>
    <dgm:pt modelId="{6B3A35E5-5EE3-49DC-B4F7-865E4D0ADB75}" type="pres">
      <dgm:prSet presAssocID="{CA6E2DA4-805A-4219-8FC2-2E617786A3D4}" presName="compNode" presStyleCnt="0"/>
      <dgm:spPr/>
    </dgm:pt>
    <dgm:pt modelId="{251B80BA-E864-425B-823C-8D233D64EBC7}" type="pres">
      <dgm:prSet presAssocID="{CA6E2DA4-805A-4219-8FC2-2E617786A3D4}" presName="bgRect" presStyleLbl="bgShp" presStyleIdx="3" presStyleCnt="4"/>
      <dgm:spPr>
        <a:solidFill>
          <a:srgbClr val="1E3E26"/>
        </a:solidFill>
      </dgm:spPr>
    </dgm:pt>
    <dgm:pt modelId="{0BA88F53-F165-475E-8EEE-B808CDD6C5DA}" type="pres">
      <dgm:prSet presAssocID="{CA6E2DA4-805A-4219-8FC2-2E617786A3D4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ustomer review with solid fill"/>
        </a:ext>
      </dgm:extLst>
    </dgm:pt>
    <dgm:pt modelId="{287C1EFC-5C13-4D78-88D5-37839634C9B4}" type="pres">
      <dgm:prSet presAssocID="{CA6E2DA4-805A-4219-8FC2-2E617786A3D4}" presName="spaceRect" presStyleCnt="0"/>
      <dgm:spPr/>
    </dgm:pt>
    <dgm:pt modelId="{257E3C9A-E7D8-43C1-9D3C-B76DBED48073}" type="pres">
      <dgm:prSet presAssocID="{CA6E2DA4-805A-4219-8FC2-2E617786A3D4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0B15CA19-C93F-AA4C-8C66-51BCBD2EB27C}" type="presOf" srcId="{278DAF69-EEE2-4570-BFB6-4E495240B512}" destId="{565CEB58-9E47-4F77-AAC4-1F1F32C76BB3}" srcOrd="0" destOrd="0" presId="urn:microsoft.com/office/officeart/2018/2/layout/IconVerticalSolidList"/>
    <dgm:cxn modelId="{7248595C-8B0B-4DA0-AE0E-A5E62C40A0B2}" srcId="{47879C36-56A8-4084-A4EC-C974E023654E}" destId="{46DE1E07-D743-47AF-944C-97C5EF1B0292}" srcOrd="1" destOrd="0" parTransId="{C66B526D-77E8-42B4-B6FE-C90C78374476}" sibTransId="{FEBD1733-C3C3-449B-A501-4A7718C3BAF2}"/>
    <dgm:cxn modelId="{3244DF65-AA43-6344-B8D8-19D4E21FA439}" type="presOf" srcId="{BAF7C9E4-1FE5-4D3C-A634-1E8F8B15D482}" destId="{F93B0A1A-536A-4BF0-8C1E-38CBA41E3033}" srcOrd="0" destOrd="0" presId="urn:microsoft.com/office/officeart/2018/2/layout/IconVerticalSolidList"/>
    <dgm:cxn modelId="{1E24756B-56C9-0C4B-AF13-97ED3E1B95AF}" type="presOf" srcId="{CA6E2DA4-805A-4219-8FC2-2E617786A3D4}" destId="{257E3C9A-E7D8-43C1-9D3C-B76DBED48073}" srcOrd="0" destOrd="0" presId="urn:microsoft.com/office/officeart/2018/2/layout/IconVerticalSolidList"/>
    <dgm:cxn modelId="{155EA888-96CB-3D44-9DA7-35D444C33B85}" type="presOf" srcId="{46DE1E07-D743-47AF-944C-97C5EF1B0292}" destId="{FF816C56-B4FE-461A-9C87-87A250D8B1FF}" srcOrd="0" destOrd="0" presId="urn:microsoft.com/office/officeart/2018/2/layout/IconVerticalSolidList"/>
    <dgm:cxn modelId="{0287F289-760F-489C-BF63-AA07E4C909A0}" srcId="{47879C36-56A8-4084-A4EC-C974E023654E}" destId="{278DAF69-EEE2-4570-BFB6-4E495240B512}" srcOrd="2" destOrd="0" parTransId="{558D045F-479E-4BA9-919A-9BD1C354BB45}" sibTransId="{6070F3A2-2C09-46A7-AF0C-FD3F447CE072}"/>
    <dgm:cxn modelId="{B1B84FB1-D93C-450C-AED7-C098D5FD3F2A}" srcId="{47879C36-56A8-4084-A4EC-C974E023654E}" destId="{CA6E2DA4-805A-4219-8FC2-2E617786A3D4}" srcOrd="3" destOrd="0" parTransId="{E1B77292-45B9-42CE-9687-17266F8503B3}" sibTransId="{74BF38B8-B06B-47D2-A70E-BC225C7110CD}"/>
    <dgm:cxn modelId="{B3673ECF-B061-4920-A43E-2EED62173535}" srcId="{47879C36-56A8-4084-A4EC-C974E023654E}" destId="{BAF7C9E4-1FE5-4D3C-A634-1E8F8B15D482}" srcOrd="0" destOrd="0" parTransId="{62F09175-89C5-4C57-B613-3FBBA0BB302C}" sibTransId="{72C4E717-63D3-4A9A-B786-0561B0DC2EAE}"/>
    <dgm:cxn modelId="{B7DE58D5-D17A-E749-9047-76F474A67BDC}" type="presOf" srcId="{47879C36-56A8-4084-A4EC-C974E023654E}" destId="{FC2971CA-E2DA-497A-B88C-2CD8DE477685}" srcOrd="0" destOrd="0" presId="urn:microsoft.com/office/officeart/2018/2/layout/IconVerticalSolidList"/>
    <dgm:cxn modelId="{8138973B-B3B5-D143-9AB3-4FDA286B48D5}" type="presParOf" srcId="{FC2971CA-E2DA-497A-B88C-2CD8DE477685}" destId="{24D766D1-CD73-40BA-ADD8-4925A3E28678}" srcOrd="0" destOrd="0" presId="urn:microsoft.com/office/officeart/2018/2/layout/IconVerticalSolidList"/>
    <dgm:cxn modelId="{949F6BB4-DD5E-8749-944D-97E65584C539}" type="presParOf" srcId="{24D766D1-CD73-40BA-ADD8-4925A3E28678}" destId="{2CB45774-DB33-463D-A1FC-0D2F2628DA9B}" srcOrd="0" destOrd="0" presId="urn:microsoft.com/office/officeart/2018/2/layout/IconVerticalSolidList"/>
    <dgm:cxn modelId="{2C032DDE-E00F-3848-96D4-2D44CE77D2FF}" type="presParOf" srcId="{24D766D1-CD73-40BA-ADD8-4925A3E28678}" destId="{9DCE9E2E-DFC2-43F0-A908-92E6B8492886}" srcOrd="1" destOrd="0" presId="urn:microsoft.com/office/officeart/2018/2/layout/IconVerticalSolidList"/>
    <dgm:cxn modelId="{37822311-032E-6145-A631-0FE0D089C737}" type="presParOf" srcId="{24D766D1-CD73-40BA-ADD8-4925A3E28678}" destId="{45E9C4DE-BFA6-460D-ACD4-9CAD3C83A4CC}" srcOrd="2" destOrd="0" presId="urn:microsoft.com/office/officeart/2018/2/layout/IconVerticalSolidList"/>
    <dgm:cxn modelId="{A73E2DD5-2859-7342-B296-50639E23E2A7}" type="presParOf" srcId="{24D766D1-CD73-40BA-ADD8-4925A3E28678}" destId="{F93B0A1A-536A-4BF0-8C1E-38CBA41E3033}" srcOrd="3" destOrd="0" presId="urn:microsoft.com/office/officeart/2018/2/layout/IconVerticalSolidList"/>
    <dgm:cxn modelId="{F0354FED-B4A7-7C41-89DC-8041E975ADF3}" type="presParOf" srcId="{FC2971CA-E2DA-497A-B88C-2CD8DE477685}" destId="{5FB9529E-2160-4E18-9AF1-E80BFD23DB79}" srcOrd="1" destOrd="0" presId="urn:microsoft.com/office/officeart/2018/2/layout/IconVerticalSolidList"/>
    <dgm:cxn modelId="{B5018F95-B119-5E43-BC0D-B3E927B488C0}" type="presParOf" srcId="{FC2971CA-E2DA-497A-B88C-2CD8DE477685}" destId="{571A910C-915A-47BA-92BC-8B0276B0D8CD}" srcOrd="2" destOrd="0" presId="urn:microsoft.com/office/officeart/2018/2/layout/IconVerticalSolidList"/>
    <dgm:cxn modelId="{94C16C24-9D6D-734E-A0CF-20BFE2DF3862}" type="presParOf" srcId="{571A910C-915A-47BA-92BC-8B0276B0D8CD}" destId="{33556901-E03D-4330-9AA8-15B744BC1821}" srcOrd="0" destOrd="0" presId="urn:microsoft.com/office/officeart/2018/2/layout/IconVerticalSolidList"/>
    <dgm:cxn modelId="{B7600425-D940-B245-8BCE-648B0B705838}" type="presParOf" srcId="{571A910C-915A-47BA-92BC-8B0276B0D8CD}" destId="{95E858DB-9A6E-4E75-9D57-8D42AE42F561}" srcOrd="1" destOrd="0" presId="urn:microsoft.com/office/officeart/2018/2/layout/IconVerticalSolidList"/>
    <dgm:cxn modelId="{3A35E99C-8969-5649-9515-5FED68670655}" type="presParOf" srcId="{571A910C-915A-47BA-92BC-8B0276B0D8CD}" destId="{660BB9F5-6385-45A7-B8F2-14D0DD6C78F8}" srcOrd="2" destOrd="0" presId="urn:microsoft.com/office/officeart/2018/2/layout/IconVerticalSolidList"/>
    <dgm:cxn modelId="{26435751-6170-AD4C-874F-4C41070A0EDC}" type="presParOf" srcId="{571A910C-915A-47BA-92BC-8B0276B0D8CD}" destId="{FF816C56-B4FE-461A-9C87-87A250D8B1FF}" srcOrd="3" destOrd="0" presId="urn:microsoft.com/office/officeart/2018/2/layout/IconVerticalSolidList"/>
    <dgm:cxn modelId="{E853C853-30FF-E048-A5BA-F0F0302446A3}" type="presParOf" srcId="{FC2971CA-E2DA-497A-B88C-2CD8DE477685}" destId="{C8010C43-C958-4A15-9CFE-4F48B108C501}" srcOrd="3" destOrd="0" presId="urn:microsoft.com/office/officeart/2018/2/layout/IconVerticalSolidList"/>
    <dgm:cxn modelId="{DC682342-A85F-044F-9295-12AAB2D1D2AC}" type="presParOf" srcId="{FC2971CA-E2DA-497A-B88C-2CD8DE477685}" destId="{C381B9D2-DF5F-4BA0-82E6-B0EBF90769D7}" srcOrd="4" destOrd="0" presId="urn:microsoft.com/office/officeart/2018/2/layout/IconVerticalSolidList"/>
    <dgm:cxn modelId="{43B1DAFF-0548-A647-80DA-FE4010F567C8}" type="presParOf" srcId="{C381B9D2-DF5F-4BA0-82E6-B0EBF90769D7}" destId="{99039799-2042-45F0-AD21-EE49CCB79B0A}" srcOrd="0" destOrd="0" presId="urn:microsoft.com/office/officeart/2018/2/layout/IconVerticalSolidList"/>
    <dgm:cxn modelId="{8D94A3D7-3005-1F4E-A58B-E2277ABAD028}" type="presParOf" srcId="{C381B9D2-DF5F-4BA0-82E6-B0EBF90769D7}" destId="{B66290D9-E67B-4511-AC17-CB7594C7AC15}" srcOrd="1" destOrd="0" presId="urn:microsoft.com/office/officeart/2018/2/layout/IconVerticalSolidList"/>
    <dgm:cxn modelId="{EEDB31F7-EDEF-C443-B98D-A6F43CC455F3}" type="presParOf" srcId="{C381B9D2-DF5F-4BA0-82E6-B0EBF90769D7}" destId="{62E5FD6F-F389-4210-8D72-F5C8D8AEF021}" srcOrd="2" destOrd="0" presId="urn:microsoft.com/office/officeart/2018/2/layout/IconVerticalSolidList"/>
    <dgm:cxn modelId="{5AE57984-2295-184D-8233-FCD46EF520A6}" type="presParOf" srcId="{C381B9D2-DF5F-4BA0-82E6-B0EBF90769D7}" destId="{565CEB58-9E47-4F77-AAC4-1F1F32C76BB3}" srcOrd="3" destOrd="0" presId="urn:microsoft.com/office/officeart/2018/2/layout/IconVerticalSolidList"/>
    <dgm:cxn modelId="{3B7ED11B-60A1-BC43-A321-86560C687B6F}" type="presParOf" srcId="{FC2971CA-E2DA-497A-B88C-2CD8DE477685}" destId="{23E85F05-9601-450A-82C9-DEC041909861}" srcOrd="5" destOrd="0" presId="urn:microsoft.com/office/officeart/2018/2/layout/IconVerticalSolidList"/>
    <dgm:cxn modelId="{5693463F-9798-8748-B941-6B18F62A290C}" type="presParOf" srcId="{FC2971CA-E2DA-497A-B88C-2CD8DE477685}" destId="{6B3A35E5-5EE3-49DC-B4F7-865E4D0ADB75}" srcOrd="6" destOrd="0" presId="urn:microsoft.com/office/officeart/2018/2/layout/IconVerticalSolidList"/>
    <dgm:cxn modelId="{A4DC4776-52D5-1D4F-9D02-53E909B63D12}" type="presParOf" srcId="{6B3A35E5-5EE3-49DC-B4F7-865E4D0ADB75}" destId="{251B80BA-E864-425B-823C-8D233D64EBC7}" srcOrd="0" destOrd="0" presId="urn:microsoft.com/office/officeart/2018/2/layout/IconVerticalSolidList"/>
    <dgm:cxn modelId="{6AD84143-7CD0-4B4C-9D19-05C6A943DFF3}" type="presParOf" srcId="{6B3A35E5-5EE3-49DC-B4F7-865E4D0ADB75}" destId="{0BA88F53-F165-475E-8EEE-B808CDD6C5DA}" srcOrd="1" destOrd="0" presId="urn:microsoft.com/office/officeart/2018/2/layout/IconVerticalSolidList"/>
    <dgm:cxn modelId="{83670FF5-3052-D943-9E0B-6A1A5ADB2DC4}" type="presParOf" srcId="{6B3A35E5-5EE3-49DC-B4F7-865E4D0ADB75}" destId="{287C1EFC-5C13-4D78-88D5-37839634C9B4}" srcOrd="2" destOrd="0" presId="urn:microsoft.com/office/officeart/2018/2/layout/IconVerticalSolidList"/>
    <dgm:cxn modelId="{D91605BE-7B12-114D-B9D1-A359D4744EC0}" type="presParOf" srcId="{6B3A35E5-5EE3-49DC-B4F7-865E4D0ADB75}" destId="{257E3C9A-E7D8-43C1-9D3C-B76DBED48073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90B049B-35B8-4810-A9AB-C8D25C460AAB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9A06EF5-2F1B-4953-A57E-C644784F6647}">
      <dgm:prSet phldr="0"/>
      <dgm:spPr/>
      <dgm:t>
        <a:bodyPr/>
        <a:lstStyle/>
        <a:p>
          <a:pPr>
            <a:lnSpc>
              <a:spcPct val="100000"/>
            </a:lnSpc>
          </a:pPr>
          <a:r>
            <a:rPr lang="en-US">
              <a:latin typeface="Century Gothic" panose="020B0502020202020204"/>
            </a:rPr>
            <a:t>Provide value to campuses through the benefit of shared knowledge and infrastructure</a:t>
          </a:r>
          <a:endParaRPr lang="en-US"/>
        </a:p>
      </dgm:t>
    </dgm:pt>
    <dgm:pt modelId="{BA66A9F8-3201-4CA1-9E1D-4DB198F2FC09}" type="parTrans" cxnId="{431CD771-340F-4FCD-9AF9-5A4313CF8D9C}">
      <dgm:prSet/>
      <dgm:spPr/>
    </dgm:pt>
    <dgm:pt modelId="{5CF0E937-9FD5-4D87-B184-389126D08C71}" type="sibTrans" cxnId="{431CD771-340F-4FCD-9AF9-5A4313CF8D9C}">
      <dgm:prSet/>
      <dgm:spPr/>
    </dgm:pt>
    <dgm:pt modelId="{98710807-7DD0-4E4C-B8C6-6D07D584DB4A}">
      <dgm:prSet phldr="0"/>
      <dgm:spPr/>
      <dgm:t>
        <a:bodyPr/>
        <a:lstStyle/>
        <a:p>
          <a:pPr>
            <a:lnSpc>
              <a:spcPct val="100000"/>
            </a:lnSpc>
          </a:pPr>
          <a:r>
            <a:rPr lang="en-US">
              <a:latin typeface="Century Gothic" panose="020B0502020202020204"/>
            </a:rPr>
            <a:t>Provide full support and management of common systems</a:t>
          </a:r>
        </a:p>
      </dgm:t>
    </dgm:pt>
    <dgm:pt modelId="{C126C4BC-7DE4-4C59-AE9F-B5BD63255F15}" type="parTrans" cxnId="{158F2404-CFF0-4FD7-96CD-B8FC8B182518}">
      <dgm:prSet/>
      <dgm:spPr/>
    </dgm:pt>
    <dgm:pt modelId="{E43E84BF-37F1-4245-B480-124F45867B99}" type="sibTrans" cxnId="{158F2404-CFF0-4FD7-96CD-B8FC8B182518}">
      <dgm:prSet/>
      <dgm:spPr/>
    </dgm:pt>
    <dgm:pt modelId="{70F360BB-BBE0-46F2-BA6E-508EEE805DBB}">
      <dgm:prSet phldr="0"/>
      <dgm:spPr/>
      <dgm:t>
        <a:bodyPr/>
        <a:lstStyle/>
        <a:p>
          <a:pPr>
            <a:lnSpc>
              <a:spcPct val="100000"/>
            </a:lnSpc>
          </a:pPr>
          <a:r>
            <a:rPr lang="en-US">
              <a:latin typeface="Century Gothic" panose="020B0502020202020204"/>
            </a:rPr>
            <a:t>Standardize and document common processes</a:t>
          </a:r>
        </a:p>
      </dgm:t>
    </dgm:pt>
    <dgm:pt modelId="{93D59DC7-37A0-4E76-8780-1329AE603E96}" type="parTrans" cxnId="{C38B78D2-1BA7-42C6-8641-F5C07052C727}">
      <dgm:prSet/>
      <dgm:spPr/>
    </dgm:pt>
    <dgm:pt modelId="{073A5518-D69C-4AD1-85F3-405C230D8BE3}" type="sibTrans" cxnId="{C38B78D2-1BA7-42C6-8641-F5C07052C727}">
      <dgm:prSet/>
      <dgm:spPr/>
    </dgm:pt>
    <dgm:pt modelId="{E1162627-F45D-4F3C-904D-D208FD84D061}">
      <dgm:prSet phldr="0"/>
      <dgm:spPr/>
      <dgm:t>
        <a:bodyPr/>
        <a:lstStyle/>
        <a:p>
          <a:pPr>
            <a:lnSpc>
              <a:spcPct val="100000"/>
            </a:lnSpc>
          </a:pPr>
          <a:r>
            <a:rPr lang="en-US">
              <a:latin typeface="Century Gothic" panose="020B0502020202020204"/>
            </a:rPr>
            <a:t>Identify opportunities to expand efficiencies and improve services</a:t>
          </a:r>
        </a:p>
      </dgm:t>
    </dgm:pt>
    <dgm:pt modelId="{5249524F-967C-4733-A080-4683BBD32525}" type="parTrans" cxnId="{63BE4B11-851D-4CB0-94B6-C5CBC1B36EDB}">
      <dgm:prSet/>
      <dgm:spPr/>
    </dgm:pt>
    <dgm:pt modelId="{5D6CAA52-706C-46A8-9EF8-86B8BB352877}" type="sibTrans" cxnId="{63BE4B11-851D-4CB0-94B6-C5CBC1B36EDB}">
      <dgm:prSet/>
      <dgm:spPr/>
    </dgm:pt>
    <dgm:pt modelId="{ABE6B8B9-B0FB-4B3F-B631-E41F945A7EF8}">
      <dgm:prSet phldr="0"/>
      <dgm:spPr/>
      <dgm:t>
        <a:bodyPr/>
        <a:lstStyle/>
        <a:p>
          <a:pPr>
            <a:lnSpc>
              <a:spcPct val="100000"/>
            </a:lnSpc>
          </a:pPr>
          <a:r>
            <a:rPr lang="en-US">
              <a:latin typeface="Century Gothic" panose="020B0502020202020204"/>
            </a:rPr>
            <a:t>Meet internal audit requirements and UW System Administration Information Security Policies</a:t>
          </a:r>
        </a:p>
      </dgm:t>
    </dgm:pt>
    <dgm:pt modelId="{45435EB9-FB13-4DED-ABD7-A11ACA571F92}" type="parTrans" cxnId="{56F8A513-28CE-4858-8C40-2086C174C177}">
      <dgm:prSet/>
      <dgm:spPr/>
    </dgm:pt>
    <dgm:pt modelId="{2A914B80-1025-499C-A7F8-ABCDB048B39B}" type="sibTrans" cxnId="{56F8A513-28CE-4858-8C40-2086C174C177}">
      <dgm:prSet/>
      <dgm:spPr/>
    </dgm:pt>
    <dgm:pt modelId="{48FFC12B-2E6D-4A4B-9484-728C5675970F}">
      <dgm:prSet phldr="0"/>
      <dgm:spPr/>
      <dgm:t>
        <a:bodyPr/>
        <a:lstStyle/>
        <a:p>
          <a:pPr>
            <a:lnSpc>
              <a:spcPct val="100000"/>
            </a:lnSpc>
          </a:pPr>
          <a:r>
            <a:rPr lang="en-US">
              <a:latin typeface="Century Gothic" panose="020B0502020202020204"/>
            </a:rPr>
            <a:t>Gain efficiences of scale</a:t>
          </a:r>
        </a:p>
      </dgm:t>
    </dgm:pt>
    <dgm:pt modelId="{6024359A-E34B-49BD-AAE8-A22EDF91AE68}" type="parTrans" cxnId="{4DD0F8C5-3479-4347-929F-BFF7B011071D}">
      <dgm:prSet/>
      <dgm:spPr/>
    </dgm:pt>
    <dgm:pt modelId="{487C4E0A-A5FB-41BB-A58D-4C8777393CB8}" type="sibTrans" cxnId="{4DD0F8C5-3479-4347-929F-BFF7B011071D}">
      <dgm:prSet/>
      <dgm:spPr/>
    </dgm:pt>
    <dgm:pt modelId="{379ED546-B676-4146-A284-D4C9AC8B4C60}" type="pres">
      <dgm:prSet presAssocID="{990B049B-35B8-4810-A9AB-C8D25C460AAB}" presName="root" presStyleCnt="0">
        <dgm:presLayoutVars>
          <dgm:dir/>
          <dgm:resizeHandles val="exact"/>
        </dgm:presLayoutVars>
      </dgm:prSet>
      <dgm:spPr/>
    </dgm:pt>
    <dgm:pt modelId="{A4069A56-CD83-498D-9279-89BF6CF61CA8}" type="pres">
      <dgm:prSet presAssocID="{48FFC12B-2E6D-4A4B-9484-728C5675970F}" presName="compNode" presStyleCnt="0"/>
      <dgm:spPr/>
    </dgm:pt>
    <dgm:pt modelId="{58A79D11-FF7C-4CA3-8367-E82665C96793}" type="pres">
      <dgm:prSet presAssocID="{48FFC12B-2E6D-4A4B-9484-728C5675970F}" presName="bgRect" presStyleLbl="bgShp" presStyleIdx="0" presStyleCnt="6"/>
      <dgm:spPr/>
    </dgm:pt>
    <dgm:pt modelId="{43D67DE0-0E50-43EB-8386-B738D7F0D48C}" type="pres">
      <dgm:prSet presAssocID="{48FFC12B-2E6D-4A4B-9484-728C5675970F}" presName="iconRect" presStyleLbl="node1" presStyleIdx="0" presStyleCnt="6"/>
      <dgm:spPr/>
    </dgm:pt>
    <dgm:pt modelId="{9857B2A5-2487-4251-9AC2-796982C3FC27}" type="pres">
      <dgm:prSet presAssocID="{48FFC12B-2E6D-4A4B-9484-728C5675970F}" presName="spaceRect" presStyleCnt="0"/>
      <dgm:spPr/>
    </dgm:pt>
    <dgm:pt modelId="{D3CB086A-A7B9-406B-8375-EB6FFA7E466B}" type="pres">
      <dgm:prSet presAssocID="{48FFC12B-2E6D-4A4B-9484-728C5675970F}" presName="parTx" presStyleLbl="revTx" presStyleIdx="0" presStyleCnt="6">
        <dgm:presLayoutVars>
          <dgm:chMax val="0"/>
          <dgm:chPref val="0"/>
        </dgm:presLayoutVars>
      </dgm:prSet>
      <dgm:spPr/>
    </dgm:pt>
    <dgm:pt modelId="{997977DA-010D-43DD-8EF2-7979FA164963}" type="pres">
      <dgm:prSet presAssocID="{487C4E0A-A5FB-41BB-A58D-4C8777393CB8}" presName="sibTrans" presStyleCnt="0"/>
      <dgm:spPr/>
    </dgm:pt>
    <dgm:pt modelId="{CEBFA274-50D7-4C98-BA8E-5DF5E38C33D0}" type="pres">
      <dgm:prSet presAssocID="{D9A06EF5-2F1B-4953-A57E-C644784F6647}" presName="compNode" presStyleCnt="0"/>
      <dgm:spPr/>
    </dgm:pt>
    <dgm:pt modelId="{67E7FF47-7A6D-4C6F-8395-6236ADC8B18A}" type="pres">
      <dgm:prSet presAssocID="{D9A06EF5-2F1B-4953-A57E-C644784F6647}" presName="bgRect" presStyleLbl="bgShp" presStyleIdx="1" presStyleCnt="6"/>
      <dgm:spPr/>
    </dgm:pt>
    <dgm:pt modelId="{E70D64D0-484D-4F10-A676-C062DFA6CEF5}" type="pres">
      <dgm:prSet presAssocID="{D9A06EF5-2F1B-4953-A57E-C644784F6647}" presName="iconRect" presStyleLbl="node1" presStyleIdx="1" presStyleCnt="6"/>
      <dgm:spPr/>
    </dgm:pt>
    <dgm:pt modelId="{F1F04343-9E7C-421A-9313-949863FB0AFC}" type="pres">
      <dgm:prSet presAssocID="{D9A06EF5-2F1B-4953-A57E-C644784F6647}" presName="spaceRect" presStyleCnt="0"/>
      <dgm:spPr/>
    </dgm:pt>
    <dgm:pt modelId="{2081B956-E89D-442D-9F0D-5A3A05A76B80}" type="pres">
      <dgm:prSet presAssocID="{D9A06EF5-2F1B-4953-A57E-C644784F6647}" presName="parTx" presStyleLbl="revTx" presStyleIdx="1" presStyleCnt="6">
        <dgm:presLayoutVars>
          <dgm:chMax val="0"/>
          <dgm:chPref val="0"/>
        </dgm:presLayoutVars>
      </dgm:prSet>
      <dgm:spPr/>
    </dgm:pt>
    <dgm:pt modelId="{9A40E59D-C2CC-4B75-89B6-26C1FAC7E77A}" type="pres">
      <dgm:prSet presAssocID="{5CF0E937-9FD5-4D87-B184-389126D08C71}" presName="sibTrans" presStyleCnt="0"/>
      <dgm:spPr/>
    </dgm:pt>
    <dgm:pt modelId="{DAE50E96-5B35-481C-A18E-DF8B09B7B3F6}" type="pres">
      <dgm:prSet presAssocID="{98710807-7DD0-4E4C-B8C6-6D07D584DB4A}" presName="compNode" presStyleCnt="0"/>
      <dgm:spPr/>
    </dgm:pt>
    <dgm:pt modelId="{B1781135-552C-4A9A-904B-506704CB7CE4}" type="pres">
      <dgm:prSet presAssocID="{98710807-7DD0-4E4C-B8C6-6D07D584DB4A}" presName="bgRect" presStyleLbl="bgShp" presStyleIdx="2" presStyleCnt="6"/>
      <dgm:spPr/>
    </dgm:pt>
    <dgm:pt modelId="{365D1435-C241-49AA-99E5-33C5C3B18B7C}" type="pres">
      <dgm:prSet presAssocID="{98710807-7DD0-4E4C-B8C6-6D07D584DB4A}" presName="iconRect" presStyleLbl="node1" presStyleIdx="2" presStyleCnt="6"/>
      <dgm:spPr/>
    </dgm:pt>
    <dgm:pt modelId="{AE8A77FD-794F-44C7-935A-90CC6EB2D390}" type="pres">
      <dgm:prSet presAssocID="{98710807-7DD0-4E4C-B8C6-6D07D584DB4A}" presName="spaceRect" presStyleCnt="0"/>
      <dgm:spPr/>
    </dgm:pt>
    <dgm:pt modelId="{ACB37E99-94D3-4AA3-B7C0-CD791E761633}" type="pres">
      <dgm:prSet presAssocID="{98710807-7DD0-4E4C-B8C6-6D07D584DB4A}" presName="parTx" presStyleLbl="revTx" presStyleIdx="2" presStyleCnt="6">
        <dgm:presLayoutVars>
          <dgm:chMax val="0"/>
          <dgm:chPref val="0"/>
        </dgm:presLayoutVars>
      </dgm:prSet>
      <dgm:spPr/>
    </dgm:pt>
    <dgm:pt modelId="{7BEC678E-35F5-4C09-BEFB-E1B13B53F666}" type="pres">
      <dgm:prSet presAssocID="{E43E84BF-37F1-4245-B480-124F45867B99}" presName="sibTrans" presStyleCnt="0"/>
      <dgm:spPr/>
    </dgm:pt>
    <dgm:pt modelId="{04AEA24F-A019-42D0-A384-308D4703A9A2}" type="pres">
      <dgm:prSet presAssocID="{70F360BB-BBE0-46F2-BA6E-508EEE805DBB}" presName="compNode" presStyleCnt="0"/>
      <dgm:spPr/>
    </dgm:pt>
    <dgm:pt modelId="{B0610DF9-0004-4ABD-B5C4-BDDBFFA60E61}" type="pres">
      <dgm:prSet presAssocID="{70F360BB-BBE0-46F2-BA6E-508EEE805DBB}" presName="bgRect" presStyleLbl="bgShp" presStyleIdx="3" presStyleCnt="6"/>
      <dgm:spPr/>
    </dgm:pt>
    <dgm:pt modelId="{C0E2EE48-5F72-4B13-BBE7-3E1DABC71E6F}" type="pres">
      <dgm:prSet presAssocID="{70F360BB-BBE0-46F2-BA6E-508EEE805DBB}" presName="iconRect" presStyleLbl="node1" presStyleIdx="3" presStyleCnt="6"/>
      <dgm:spPr/>
    </dgm:pt>
    <dgm:pt modelId="{E4BEB083-65E0-4921-B003-A3BA5A262F8B}" type="pres">
      <dgm:prSet presAssocID="{70F360BB-BBE0-46F2-BA6E-508EEE805DBB}" presName="spaceRect" presStyleCnt="0"/>
      <dgm:spPr/>
    </dgm:pt>
    <dgm:pt modelId="{3F024CB9-9A27-4182-BC44-0774FD4A685D}" type="pres">
      <dgm:prSet presAssocID="{70F360BB-BBE0-46F2-BA6E-508EEE805DBB}" presName="parTx" presStyleLbl="revTx" presStyleIdx="3" presStyleCnt="6">
        <dgm:presLayoutVars>
          <dgm:chMax val="0"/>
          <dgm:chPref val="0"/>
        </dgm:presLayoutVars>
      </dgm:prSet>
      <dgm:spPr/>
    </dgm:pt>
    <dgm:pt modelId="{F7B1B799-C203-4703-913E-4700CC3FC6FE}" type="pres">
      <dgm:prSet presAssocID="{073A5518-D69C-4AD1-85F3-405C230D8BE3}" presName="sibTrans" presStyleCnt="0"/>
      <dgm:spPr/>
    </dgm:pt>
    <dgm:pt modelId="{3CE074E1-1B82-4FFD-BE95-C5C863C73D54}" type="pres">
      <dgm:prSet presAssocID="{E1162627-F45D-4F3C-904D-D208FD84D061}" presName="compNode" presStyleCnt="0"/>
      <dgm:spPr/>
    </dgm:pt>
    <dgm:pt modelId="{7E96F013-335D-40FC-9851-87A7E3B5E472}" type="pres">
      <dgm:prSet presAssocID="{E1162627-F45D-4F3C-904D-D208FD84D061}" presName="bgRect" presStyleLbl="bgShp" presStyleIdx="4" presStyleCnt="6"/>
      <dgm:spPr/>
    </dgm:pt>
    <dgm:pt modelId="{5872712D-9401-4089-9599-6B00342E9ED1}" type="pres">
      <dgm:prSet presAssocID="{E1162627-F45D-4F3C-904D-D208FD84D061}" presName="iconRect" presStyleLbl="node1" presStyleIdx="4" presStyleCnt="6"/>
      <dgm:spPr/>
    </dgm:pt>
    <dgm:pt modelId="{09BC547B-DE31-45C8-ACCE-540F932ECED3}" type="pres">
      <dgm:prSet presAssocID="{E1162627-F45D-4F3C-904D-D208FD84D061}" presName="spaceRect" presStyleCnt="0"/>
      <dgm:spPr/>
    </dgm:pt>
    <dgm:pt modelId="{A1AEC2BF-0005-4D73-8D04-B1520B43468D}" type="pres">
      <dgm:prSet presAssocID="{E1162627-F45D-4F3C-904D-D208FD84D061}" presName="parTx" presStyleLbl="revTx" presStyleIdx="4" presStyleCnt="6">
        <dgm:presLayoutVars>
          <dgm:chMax val="0"/>
          <dgm:chPref val="0"/>
        </dgm:presLayoutVars>
      </dgm:prSet>
      <dgm:spPr/>
    </dgm:pt>
    <dgm:pt modelId="{C0290221-638C-4A74-8007-C5D1663890C5}" type="pres">
      <dgm:prSet presAssocID="{5D6CAA52-706C-46A8-9EF8-86B8BB352877}" presName="sibTrans" presStyleCnt="0"/>
      <dgm:spPr/>
    </dgm:pt>
    <dgm:pt modelId="{EE9CF08E-0E1B-46E0-866A-EE088C2047B9}" type="pres">
      <dgm:prSet presAssocID="{ABE6B8B9-B0FB-4B3F-B631-E41F945A7EF8}" presName="compNode" presStyleCnt="0"/>
      <dgm:spPr/>
    </dgm:pt>
    <dgm:pt modelId="{43B3D544-7D9D-4807-9104-A9784284305F}" type="pres">
      <dgm:prSet presAssocID="{ABE6B8B9-B0FB-4B3F-B631-E41F945A7EF8}" presName="bgRect" presStyleLbl="bgShp" presStyleIdx="5" presStyleCnt="6"/>
      <dgm:spPr/>
    </dgm:pt>
    <dgm:pt modelId="{B2259AC1-66CC-4A4A-AF53-C17B547E24E2}" type="pres">
      <dgm:prSet presAssocID="{ABE6B8B9-B0FB-4B3F-B631-E41F945A7EF8}" presName="iconRect" presStyleLbl="node1" presStyleIdx="5" presStyleCnt="6"/>
      <dgm:spPr/>
    </dgm:pt>
    <dgm:pt modelId="{CE59C6B4-E0DC-40AC-8EF3-00CCA1F67D85}" type="pres">
      <dgm:prSet presAssocID="{ABE6B8B9-B0FB-4B3F-B631-E41F945A7EF8}" presName="spaceRect" presStyleCnt="0"/>
      <dgm:spPr/>
    </dgm:pt>
    <dgm:pt modelId="{516FB8EE-AF99-43E4-A488-6EA20606776E}" type="pres">
      <dgm:prSet presAssocID="{ABE6B8B9-B0FB-4B3F-B631-E41F945A7EF8}" presName="parTx" presStyleLbl="revTx" presStyleIdx="5" presStyleCnt="6">
        <dgm:presLayoutVars>
          <dgm:chMax val="0"/>
          <dgm:chPref val="0"/>
        </dgm:presLayoutVars>
      </dgm:prSet>
      <dgm:spPr/>
    </dgm:pt>
  </dgm:ptLst>
  <dgm:cxnLst>
    <dgm:cxn modelId="{158F2404-CFF0-4FD7-96CD-B8FC8B182518}" srcId="{990B049B-35B8-4810-A9AB-C8D25C460AAB}" destId="{98710807-7DD0-4E4C-B8C6-6D07D584DB4A}" srcOrd="2" destOrd="0" parTransId="{C126C4BC-7DE4-4C59-AE9F-B5BD63255F15}" sibTransId="{E43E84BF-37F1-4245-B480-124F45867B99}"/>
    <dgm:cxn modelId="{5A8F390B-09ED-4A7B-B5DB-26CC1285A4AF}" type="presOf" srcId="{70F360BB-BBE0-46F2-BA6E-508EEE805DBB}" destId="{3F024CB9-9A27-4182-BC44-0774FD4A685D}" srcOrd="0" destOrd="0" presId="urn:microsoft.com/office/officeart/2018/2/layout/IconVerticalSolidList"/>
    <dgm:cxn modelId="{63BE4B11-851D-4CB0-94B6-C5CBC1B36EDB}" srcId="{990B049B-35B8-4810-A9AB-C8D25C460AAB}" destId="{E1162627-F45D-4F3C-904D-D208FD84D061}" srcOrd="4" destOrd="0" parTransId="{5249524F-967C-4733-A080-4683BBD32525}" sibTransId="{5D6CAA52-706C-46A8-9EF8-86B8BB352877}"/>
    <dgm:cxn modelId="{56F8A513-28CE-4858-8C40-2086C174C177}" srcId="{990B049B-35B8-4810-A9AB-C8D25C460AAB}" destId="{ABE6B8B9-B0FB-4B3F-B631-E41F945A7EF8}" srcOrd="5" destOrd="0" parTransId="{45435EB9-FB13-4DED-ABD7-A11ACA571F92}" sibTransId="{2A914B80-1025-499C-A7F8-ABCDB048B39B}"/>
    <dgm:cxn modelId="{87B2573A-50EE-4BB6-9E4E-B9DF22B815F4}" type="presOf" srcId="{48FFC12B-2E6D-4A4B-9484-728C5675970F}" destId="{D3CB086A-A7B9-406B-8375-EB6FFA7E466B}" srcOrd="0" destOrd="0" presId="urn:microsoft.com/office/officeart/2018/2/layout/IconVerticalSolidList"/>
    <dgm:cxn modelId="{431CD771-340F-4FCD-9AF9-5A4313CF8D9C}" srcId="{990B049B-35B8-4810-A9AB-C8D25C460AAB}" destId="{D9A06EF5-2F1B-4953-A57E-C644784F6647}" srcOrd="1" destOrd="0" parTransId="{BA66A9F8-3201-4CA1-9E1D-4DB198F2FC09}" sibTransId="{5CF0E937-9FD5-4D87-B184-389126D08C71}"/>
    <dgm:cxn modelId="{118E8E79-0BEF-4D3A-8CC7-ED578E3F37DA}" type="presOf" srcId="{D9A06EF5-2F1B-4953-A57E-C644784F6647}" destId="{2081B956-E89D-442D-9F0D-5A3A05A76B80}" srcOrd="0" destOrd="0" presId="urn:microsoft.com/office/officeart/2018/2/layout/IconVerticalSolidList"/>
    <dgm:cxn modelId="{3B701C9F-1151-4F41-8F21-C3AA4CF6BC5F}" type="presOf" srcId="{ABE6B8B9-B0FB-4B3F-B631-E41F945A7EF8}" destId="{516FB8EE-AF99-43E4-A488-6EA20606776E}" srcOrd="0" destOrd="0" presId="urn:microsoft.com/office/officeart/2018/2/layout/IconVerticalSolidList"/>
    <dgm:cxn modelId="{0B3EF3B5-4D01-43E1-95B3-6386167A117F}" type="presOf" srcId="{990B049B-35B8-4810-A9AB-C8D25C460AAB}" destId="{379ED546-B676-4146-A284-D4C9AC8B4C60}" srcOrd="0" destOrd="0" presId="urn:microsoft.com/office/officeart/2018/2/layout/IconVerticalSolidList"/>
    <dgm:cxn modelId="{4DD0F8C5-3479-4347-929F-BFF7B011071D}" srcId="{990B049B-35B8-4810-A9AB-C8D25C460AAB}" destId="{48FFC12B-2E6D-4A4B-9484-728C5675970F}" srcOrd="0" destOrd="0" parTransId="{6024359A-E34B-49BD-AAE8-A22EDF91AE68}" sibTransId="{487C4E0A-A5FB-41BB-A58D-4C8777393CB8}"/>
    <dgm:cxn modelId="{C38B78D2-1BA7-42C6-8641-F5C07052C727}" srcId="{990B049B-35B8-4810-A9AB-C8D25C460AAB}" destId="{70F360BB-BBE0-46F2-BA6E-508EEE805DBB}" srcOrd="3" destOrd="0" parTransId="{93D59DC7-37A0-4E76-8780-1329AE603E96}" sibTransId="{073A5518-D69C-4AD1-85F3-405C230D8BE3}"/>
    <dgm:cxn modelId="{330061DC-AFCF-48D7-9173-735004431C7F}" type="presOf" srcId="{E1162627-F45D-4F3C-904D-D208FD84D061}" destId="{A1AEC2BF-0005-4D73-8D04-B1520B43468D}" srcOrd="0" destOrd="0" presId="urn:microsoft.com/office/officeart/2018/2/layout/IconVerticalSolidList"/>
    <dgm:cxn modelId="{B6587DF7-3C78-4C25-A5CF-B02DF8EA121B}" type="presOf" srcId="{98710807-7DD0-4E4C-B8C6-6D07D584DB4A}" destId="{ACB37E99-94D3-4AA3-B7C0-CD791E761633}" srcOrd="0" destOrd="0" presId="urn:microsoft.com/office/officeart/2018/2/layout/IconVerticalSolidList"/>
    <dgm:cxn modelId="{88276DD9-3C54-4520-B9F7-28AA79D094B9}" type="presParOf" srcId="{379ED546-B676-4146-A284-D4C9AC8B4C60}" destId="{A4069A56-CD83-498D-9279-89BF6CF61CA8}" srcOrd="0" destOrd="0" presId="urn:microsoft.com/office/officeart/2018/2/layout/IconVerticalSolidList"/>
    <dgm:cxn modelId="{6EF77BF8-C76D-4155-A712-B2FF3058BA6D}" type="presParOf" srcId="{A4069A56-CD83-498D-9279-89BF6CF61CA8}" destId="{58A79D11-FF7C-4CA3-8367-E82665C96793}" srcOrd="0" destOrd="0" presId="urn:microsoft.com/office/officeart/2018/2/layout/IconVerticalSolidList"/>
    <dgm:cxn modelId="{92F5C10B-FCBD-4760-8F2C-0E8D26F54045}" type="presParOf" srcId="{A4069A56-CD83-498D-9279-89BF6CF61CA8}" destId="{43D67DE0-0E50-43EB-8386-B738D7F0D48C}" srcOrd="1" destOrd="0" presId="urn:microsoft.com/office/officeart/2018/2/layout/IconVerticalSolidList"/>
    <dgm:cxn modelId="{16252917-E9EF-48FC-9CAC-450BCCC6576A}" type="presParOf" srcId="{A4069A56-CD83-498D-9279-89BF6CF61CA8}" destId="{9857B2A5-2487-4251-9AC2-796982C3FC27}" srcOrd="2" destOrd="0" presId="urn:microsoft.com/office/officeart/2018/2/layout/IconVerticalSolidList"/>
    <dgm:cxn modelId="{44214E1D-2D16-4D0B-A230-DDF8F66107AC}" type="presParOf" srcId="{A4069A56-CD83-498D-9279-89BF6CF61CA8}" destId="{D3CB086A-A7B9-406B-8375-EB6FFA7E466B}" srcOrd="3" destOrd="0" presId="urn:microsoft.com/office/officeart/2018/2/layout/IconVerticalSolidList"/>
    <dgm:cxn modelId="{ADE3CF15-4C7B-4639-B8AA-592CDA441BEE}" type="presParOf" srcId="{379ED546-B676-4146-A284-D4C9AC8B4C60}" destId="{997977DA-010D-43DD-8EF2-7979FA164963}" srcOrd="1" destOrd="0" presId="urn:microsoft.com/office/officeart/2018/2/layout/IconVerticalSolidList"/>
    <dgm:cxn modelId="{14FF7DF9-4AC0-4310-A479-10FB53A7B9C9}" type="presParOf" srcId="{379ED546-B676-4146-A284-D4C9AC8B4C60}" destId="{CEBFA274-50D7-4C98-BA8E-5DF5E38C33D0}" srcOrd="2" destOrd="0" presId="urn:microsoft.com/office/officeart/2018/2/layout/IconVerticalSolidList"/>
    <dgm:cxn modelId="{3A67D20B-96E8-4FD6-A153-D49AC8FC0B11}" type="presParOf" srcId="{CEBFA274-50D7-4C98-BA8E-5DF5E38C33D0}" destId="{67E7FF47-7A6D-4C6F-8395-6236ADC8B18A}" srcOrd="0" destOrd="0" presId="urn:microsoft.com/office/officeart/2018/2/layout/IconVerticalSolidList"/>
    <dgm:cxn modelId="{7F71AF4E-61F6-46A9-8395-D7267B97903E}" type="presParOf" srcId="{CEBFA274-50D7-4C98-BA8E-5DF5E38C33D0}" destId="{E70D64D0-484D-4F10-A676-C062DFA6CEF5}" srcOrd="1" destOrd="0" presId="urn:microsoft.com/office/officeart/2018/2/layout/IconVerticalSolidList"/>
    <dgm:cxn modelId="{C05105CC-2AF1-428D-B416-D7A3C54C0439}" type="presParOf" srcId="{CEBFA274-50D7-4C98-BA8E-5DF5E38C33D0}" destId="{F1F04343-9E7C-421A-9313-949863FB0AFC}" srcOrd="2" destOrd="0" presId="urn:microsoft.com/office/officeart/2018/2/layout/IconVerticalSolidList"/>
    <dgm:cxn modelId="{5D7E63B0-5AD8-4F6D-807A-D9567EDDB7DF}" type="presParOf" srcId="{CEBFA274-50D7-4C98-BA8E-5DF5E38C33D0}" destId="{2081B956-E89D-442D-9F0D-5A3A05A76B80}" srcOrd="3" destOrd="0" presId="urn:microsoft.com/office/officeart/2018/2/layout/IconVerticalSolidList"/>
    <dgm:cxn modelId="{A286E328-5712-4F25-90BE-C6559B3EA66C}" type="presParOf" srcId="{379ED546-B676-4146-A284-D4C9AC8B4C60}" destId="{9A40E59D-C2CC-4B75-89B6-26C1FAC7E77A}" srcOrd="3" destOrd="0" presId="urn:microsoft.com/office/officeart/2018/2/layout/IconVerticalSolidList"/>
    <dgm:cxn modelId="{79A9D2C7-FAA0-43E7-ABD6-59C5216BE420}" type="presParOf" srcId="{379ED546-B676-4146-A284-D4C9AC8B4C60}" destId="{DAE50E96-5B35-481C-A18E-DF8B09B7B3F6}" srcOrd="4" destOrd="0" presId="urn:microsoft.com/office/officeart/2018/2/layout/IconVerticalSolidList"/>
    <dgm:cxn modelId="{F89C813F-8FB3-423C-9C42-D17BAE06265C}" type="presParOf" srcId="{DAE50E96-5B35-481C-A18E-DF8B09B7B3F6}" destId="{B1781135-552C-4A9A-904B-506704CB7CE4}" srcOrd="0" destOrd="0" presId="urn:microsoft.com/office/officeart/2018/2/layout/IconVerticalSolidList"/>
    <dgm:cxn modelId="{93ADB78E-53DD-496A-922A-1DFBFA3C6383}" type="presParOf" srcId="{DAE50E96-5B35-481C-A18E-DF8B09B7B3F6}" destId="{365D1435-C241-49AA-99E5-33C5C3B18B7C}" srcOrd="1" destOrd="0" presId="urn:microsoft.com/office/officeart/2018/2/layout/IconVerticalSolidList"/>
    <dgm:cxn modelId="{61C2DFC7-1DFA-42CA-9D7C-B89C65317CFB}" type="presParOf" srcId="{DAE50E96-5B35-481C-A18E-DF8B09B7B3F6}" destId="{AE8A77FD-794F-44C7-935A-90CC6EB2D390}" srcOrd="2" destOrd="0" presId="urn:microsoft.com/office/officeart/2018/2/layout/IconVerticalSolidList"/>
    <dgm:cxn modelId="{4577B9F0-F5B5-4EF0-AB3A-3402FC330DCA}" type="presParOf" srcId="{DAE50E96-5B35-481C-A18E-DF8B09B7B3F6}" destId="{ACB37E99-94D3-4AA3-B7C0-CD791E761633}" srcOrd="3" destOrd="0" presId="urn:microsoft.com/office/officeart/2018/2/layout/IconVerticalSolidList"/>
    <dgm:cxn modelId="{540468A4-B0A2-4124-AE60-A31C7948B921}" type="presParOf" srcId="{379ED546-B676-4146-A284-D4C9AC8B4C60}" destId="{7BEC678E-35F5-4C09-BEFB-E1B13B53F666}" srcOrd="5" destOrd="0" presId="urn:microsoft.com/office/officeart/2018/2/layout/IconVerticalSolidList"/>
    <dgm:cxn modelId="{835C736E-3EB7-4998-A09D-3BAFB227A692}" type="presParOf" srcId="{379ED546-B676-4146-A284-D4C9AC8B4C60}" destId="{04AEA24F-A019-42D0-A384-308D4703A9A2}" srcOrd="6" destOrd="0" presId="urn:microsoft.com/office/officeart/2018/2/layout/IconVerticalSolidList"/>
    <dgm:cxn modelId="{460952DF-2C80-4DFA-A318-A1FB4823DA2E}" type="presParOf" srcId="{04AEA24F-A019-42D0-A384-308D4703A9A2}" destId="{B0610DF9-0004-4ABD-B5C4-BDDBFFA60E61}" srcOrd="0" destOrd="0" presId="urn:microsoft.com/office/officeart/2018/2/layout/IconVerticalSolidList"/>
    <dgm:cxn modelId="{A4C3B13B-2436-4B3C-812A-45C3EC55496F}" type="presParOf" srcId="{04AEA24F-A019-42D0-A384-308D4703A9A2}" destId="{C0E2EE48-5F72-4B13-BBE7-3E1DABC71E6F}" srcOrd="1" destOrd="0" presId="urn:microsoft.com/office/officeart/2018/2/layout/IconVerticalSolidList"/>
    <dgm:cxn modelId="{ABB88BD2-F0BA-4744-A6F3-961C7BCC03FA}" type="presParOf" srcId="{04AEA24F-A019-42D0-A384-308D4703A9A2}" destId="{E4BEB083-65E0-4921-B003-A3BA5A262F8B}" srcOrd="2" destOrd="0" presId="urn:microsoft.com/office/officeart/2018/2/layout/IconVerticalSolidList"/>
    <dgm:cxn modelId="{C743D47A-BF35-46C6-A18A-4551ED60DD25}" type="presParOf" srcId="{04AEA24F-A019-42D0-A384-308D4703A9A2}" destId="{3F024CB9-9A27-4182-BC44-0774FD4A685D}" srcOrd="3" destOrd="0" presId="urn:microsoft.com/office/officeart/2018/2/layout/IconVerticalSolidList"/>
    <dgm:cxn modelId="{AD6F4C57-B397-4802-BE3F-87473831D60C}" type="presParOf" srcId="{379ED546-B676-4146-A284-D4C9AC8B4C60}" destId="{F7B1B799-C203-4703-913E-4700CC3FC6FE}" srcOrd="7" destOrd="0" presId="urn:microsoft.com/office/officeart/2018/2/layout/IconVerticalSolidList"/>
    <dgm:cxn modelId="{485A2B4C-F910-45D0-A801-4B663EC08BDF}" type="presParOf" srcId="{379ED546-B676-4146-A284-D4C9AC8B4C60}" destId="{3CE074E1-1B82-4FFD-BE95-C5C863C73D54}" srcOrd="8" destOrd="0" presId="urn:microsoft.com/office/officeart/2018/2/layout/IconVerticalSolidList"/>
    <dgm:cxn modelId="{F7E85D83-690F-4A89-993E-D22A8BFE2747}" type="presParOf" srcId="{3CE074E1-1B82-4FFD-BE95-C5C863C73D54}" destId="{7E96F013-335D-40FC-9851-87A7E3B5E472}" srcOrd="0" destOrd="0" presId="urn:microsoft.com/office/officeart/2018/2/layout/IconVerticalSolidList"/>
    <dgm:cxn modelId="{A5870075-9B6A-400D-B9D8-873836ABD61A}" type="presParOf" srcId="{3CE074E1-1B82-4FFD-BE95-C5C863C73D54}" destId="{5872712D-9401-4089-9599-6B00342E9ED1}" srcOrd="1" destOrd="0" presId="urn:microsoft.com/office/officeart/2018/2/layout/IconVerticalSolidList"/>
    <dgm:cxn modelId="{8C221E7F-6690-4601-9ADB-EDBF6B7C6214}" type="presParOf" srcId="{3CE074E1-1B82-4FFD-BE95-C5C863C73D54}" destId="{09BC547B-DE31-45C8-ACCE-540F932ECED3}" srcOrd="2" destOrd="0" presId="urn:microsoft.com/office/officeart/2018/2/layout/IconVerticalSolidList"/>
    <dgm:cxn modelId="{01C66CDE-0C59-4035-8C62-AB4014109C92}" type="presParOf" srcId="{3CE074E1-1B82-4FFD-BE95-C5C863C73D54}" destId="{A1AEC2BF-0005-4D73-8D04-B1520B43468D}" srcOrd="3" destOrd="0" presId="urn:microsoft.com/office/officeart/2018/2/layout/IconVerticalSolidList"/>
    <dgm:cxn modelId="{CF9D9A08-0451-4B0D-940C-5E83F3015795}" type="presParOf" srcId="{379ED546-B676-4146-A284-D4C9AC8B4C60}" destId="{C0290221-638C-4A74-8007-C5D1663890C5}" srcOrd="9" destOrd="0" presId="urn:microsoft.com/office/officeart/2018/2/layout/IconVerticalSolidList"/>
    <dgm:cxn modelId="{54858C22-DF28-43FA-A9CA-4F608B1DCB37}" type="presParOf" srcId="{379ED546-B676-4146-A284-D4C9AC8B4C60}" destId="{EE9CF08E-0E1B-46E0-866A-EE088C2047B9}" srcOrd="10" destOrd="0" presId="urn:microsoft.com/office/officeart/2018/2/layout/IconVerticalSolidList"/>
    <dgm:cxn modelId="{A446AA06-9F26-4DCA-A9BE-7446226E3172}" type="presParOf" srcId="{EE9CF08E-0E1B-46E0-866A-EE088C2047B9}" destId="{43B3D544-7D9D-4807-9104-A9784284305F}" srcOrd="0" destOrd="0" presId="urn:microsoft.com/office/officeart/2018/2/layout/IconVerticalSolidList"/>
    <dgm:cxn modelId="{ACB9CD2E-4911-463C-8FB8-11F15021A8D2}" type="presParOf" srcId="{EE9CF08E-0E1B-46E0-866A-EE088C2047B9}" destId="{B2259AC1-66CC-4A4A-AF53-C17B547E24E2}" srcOrd="1" destOrd="0" presId="urn:microsoft.com/office/officeart/2018/2/layout/IconVerticalSolidList"/>
    <dgm:cxn modelId="{8C44CBAD-900F-4AE1-95CE-D17AD2F8F041}" type="presParOf" srcId="{EE9CF08E-0E1B-46E0-866A-EE088C2047B9}" destId="{CE59C6B4-E0DC-40AC-8EF3-00CCA1F67D85}" srcOrd="2" destOrd="0" presId="urn:microsoft.com/office/officeart/2018/2/layout/IconVerticalSolidList"/>
    <dgm:cxn modelId="{07B7C313-A696-415A-A1C5-EFA6BAC2615E}" type="presParOf" srcId="{EE9CF08E-0E1B-46E0-866A-EE088C2047B9}" destId="{516FB8EE-AF99-43E4-A488-6EA20606776E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90B049B-35B8-4810-A9AB-C8D25C460AAB}" type="doc">
      <dgm:prSet loTypeId="urn:microsoft.com/office/officeart/2018/2/layout/IconCircle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07821F6-5451-4773-80E7-BBE767F77B9A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Waiting on hardware delivery</a:t>
          </a:r>
        </a:p>
      </dgm:t>
    </dgm:pt>
    <dgm:pt modelId="{14BE51EA-0295-464F-AB79-2C808EE8F09A}" type="parTrans" cxnId="{2BD216B3-A2E6-48C7-9DFD-6D8C28E7DAFD}">
      <dgm:prSet/>
      <dgm:spPr/>
      <dgm:t>
        <a:bodyPr/>
        <a:lstStyle/>
        <a:p>
          <a:endParaRPr lang="en-US"/>
        </a:p>
      </dgm:t>
    </dgm:pt>
    <dgm:pt modelId="{153BF074-67B4-414A-A010-031DE52E8275}" type="sibTrans" cxnId="{2BD216B3-A2E6-48C7-9DFD-6D8C28E7DAFD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E4A3400F-97E0-4CFD-96E5-90D1EE69C3FB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Completing detailed discoveries</a:t>
          </a:r>
        </a:p>
      </dgm:t>
    </dgm:pt>
    <dgm:pt modelId="{19C2DDEA-3AAC-4031-BBEC-3A3D00D43DAA}" type="parTrans" cxnId="{6DDF9BF3-6D18-4EE8-8F3F-A26D92888AE8}">
      <dgm:prSet/>
      <dgm:spPr/>
      <dgm:t>
        <a:bodyPr/>
        <a:lstStyle/>
        <a:p>
          <a:endParaRPr lang="en-US"/>
        </a:p>
      </dgm:t>
    </dgm:pt>
    <dgm:pt modelId="{38C0D4C0-DEEB-484F-9DF6-EC2CEDE5E404}" type="sibTrans" cxnId="{6DDF9BF3-6D18-4EE8-8F3F-A26D92888AE8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A1343A58-DBE7-4C78-867F-4F4607E5ABE4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Planning and designing architecture</a:t>
          </a:r>
        </a:p>
      </dgm:t>
    </dgm:pt>
    <dgm:pt modelId="{CBF7D517-21F3-4225-B4C5-E303084F3246}" type="parTrans" cxnId="{CCF41661-2011-4697-9755-95F54DF6D5C3}">
      <dgm:prSet/>
      <dgm:spPr/>
      <dgm:t>
        <a:bodyPr/>
        <a:lstStyle/>
        <a:p>
          <a:endParaRPr lang="en-US"/>
        </a:p>
      </dgm:t>
    </dgm:pt>
    <dgm:pt modelId="{A04BB9F0-8323-41FC-8CC2-6C74E9CDEADF}" type="sibTrans" cxnId="{CCF41661-2011-4697-9755-95F54DF6D5C3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A1F7585E-BB91-4350-A67B-83032A1A8D9D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Mitigating technical debt</a:t>
          </a:r>
        </a:p>
      </dgm:t>
    </dgm:pt>
    <dgm:pt modelId="{4F259836-9D1A-42E1-BD37-7C84FE2EDC1D}" type="parTrans" cxnId="{17534798-7CD9-4028-911B-9B11E8ED0208}">
      <dgm:prSet/>
      <dgm:spPr/>
      <dgm:t>
        <a:bodyPr/>
        <a:lstStyle/>
        <a:p>
          <a:endParaRPr lang="en-US"/>
        </a:p>
      </dgm:t>
    </dgm:pt>
    <dgm:pt modelId="{B9191579-167D-4C23-80FF-BFC262B8ED20}" type="sibTrans" cxnId="{17534798-7CD9-4028-911B-9B11E8ED0208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9FE4263F-1A93-48C4-A542-303A6A113C18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Developing standard operating procedures</a:t>
          </a:r>
        </a:p>
      </dgm:t>
    </dgm:pt>
    <dgm:pt modelId="{AF8B619A-3185-48D6-AE1F-B3D3111E3804}" type="parTrans" cxnId="{6A77B8A3-59CF-41CC-A044-4AEBB0877DB3}">
      <dgm:prSet/>
      <dgm:spPr/>
      <dgm:t>
        <a:bodyPr/>
        <a:lstStyle/>
        <a:p>
          <a:endParaRPr lang="en-US"/>
        </a:p>
      </dgm:t>
    </dgm:pt>
    <dgm:pt modelId="{85ADC8C0-504D-4487-8C8E-0E1C43822299}" type="sibTrans" cxnId="{6A77B8A3-59CF-41CC-A044-4AEBB0877DB3}">
      <dgm:prSet/>
      <dgm:spPr/>
      <dgm:t>
        <a:bodyPr/>
        <a:lstStyle/>
        <a:p>
          <a:endParaRPr lang="en-US"/>
        </a:p>
      </dgm:t>
    </dgm:pt>
    <dgm:pt modelId="{FED7C149-FEA6-4C03-8DF8-2215224864CC}">
      <dgm:prSet phldr="0"/>
      <dgm:spPr/>
      <dgm:t>
        <a:bodyPr/>
        <a:lstStyle/>
        <a:p>
          <a:pPr>
            <a:lnSpc>
              <a:spcPct val="100000"/>
            </a:lnSpc>
          </a:pPr>
          <a:r>
            <a:rPr lang="en-US">
              <a:latin typeface="Century Gothic" panose="020B0502020202020204"/>
            </a:rPr>
            <a:t>Supporting current environments</a:t>
          </a:r>
        </a:p>
      </dgm:t>
    </dgm:pt>
    <dgm:pt modelId="{0A1A5676-3050-447C-960D-3792C6129A2C}" type="parTrans" cxnId="{EA44450E-DB81-49B4-8276-45101CDB1CC4}">
      <dgm:prSet/>
      <dgm:spPr/>
    </dgm:pt>
    <dgm:pt modelId="{45B2E57E-4D43-4CA9-8D5C-34017545C233}" type="sibTrans" cxnId="{EA44450E-DB81-49B4-8276-45101CDB1CC4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DAEA27D0-BB52-44BF-A70C-163AA2D45BA7}" type="pres">
      <dgm:prSet presAssocID="{990B049B-35B8-4810-A9AB-C8D25C460AAB}" presName="root" presStyleCnt="0">
        <dgm:presLayoutVars>
          <dgm:dir/>
          <dgm:resizeHandles val="exact"/>
        </dgm:presLayoutVars>
      </dgm:prSet>
      <dgm:spPr/>
    </dgm:pt>
    <dgm:pt modelId="{AC4EEBE4-EDA6-46A3-99DC-7FC901A1C82C}" type="pres">
      <dgm:prSet presAssocID="{990B049B-35B8-4810-A9AB-C8D25C460AAB}" presName="container" presStyleCnt="0">
        <dgm:presLayoutVars>
          <dgm:dir/>
          <dgm:resizeHandles val="exact"/>
        </dgm:presLayoutVars>
      </dgm:prSet>
      <dgm:spPr/>
    </dgm:pt>
    <dgm:pt modelId="{B94DF0FB-AEA6-462D-92D8-6A723E961632}" type="pres">
      <dgm:prSet presAssocID="{FED7C149-FEA6-4C03-8DF8-2215224864CC}" presName="compNode" presStyleCnt="0"/>
      <dgm:spPr/>
    </dgm:pt>
    <dgm:pt modelId="{A451944F-758C-4939-AD3A-FCF12ABD7BAE}" type="pres">
      <dgm:prSet presAssocID="{FED7C149-FEA6-4C03-8DF8-2215224864CC}" presName="iconBgRect" presStyleLbl="bgShp" presStyleIdx="0" presStyleCnt="6"/>
      <dgm:spPr/>
    </dgm:pt>
    <dgm:pt modelId="{A0982533-EC24-4BE7-8B3E-D8F0E88F5167}" type="pres">
      <dgm:prSet presAssocID="{FED7C149-FEA6-4C03-8DF8-2215224864CC}" presName="iconRect" presStyleLbl="node1" presStyleIdx="0" presStyleCnt="6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User"/>
        </a:ext>
      </dgm:extLst>
    </dgm:pt>
    <dgm:pt modelId="{481C3C36-7AB6-46B9-9EB7-F2738F8C7D01}" type="pres">
      <dgm:prSet presAssocID="{FED7C149-FEA6-4C03-8DF8-2215224864CC}" presName="spaceRect" presStyleCnt="0"/>
      <dgm:spPr/>
    </dgm:pt>
    <dgm:pt modelId="{66A6988C-0FD2-4228-A2F5-C4740C67DCC5}" type="pres">
      <dgm:prSet presAssocID="{FED7C149-FEA6-4C03-8DF8-2215224864CC}" presName="textRect" presStyleLbl="revTx" presStyleIdx="0" presStyleCnt="6">
        <dgm:presLayoutVars>
          <dgm:chMax val="1"/>
          <dgm:chPref val="1"/>
        </dgm:presLayoutVars>
      </dgm:prSet>
      <dgm:spPr/>
    </dgm:pt>
    <dgm:pt modelId="{EB5F2544-4EB7-4FB0-B3EA-5F2411DFD0F5}" type="pres">
      <dgm:prSet presAssocID="{45B2E57E-4D43-4CA9-8D5C-34017545C233}" presName="sibTrans" presStyleLbl="sibTrans2D1" presStyleIdx="0" presStyleCnt="0"/>
      <dgm:spPr/>
    </dgm:pt>
    <dgm:pt modelId="{AD7CE749-03BD-4EC6-A226-277A9757FC4A}" type="pres">
      <dgm:prSet presAssocID="{C07821F6-5451-4773-80E7-BBE767F77B9A}" presName="compNode" presStyleCnt="0"/>
      <dgm:spPr/>
    </dgm:pt>
    <dgm:pt modelId="{AEB18801-AE12-4693-A9B3-943859D3B778}" type="pres">
      <dgm:prSet presAssocID="{C07821F6-5451-4773-80E7-BBE767F77B9A}" presName="iconBgRect" presStyleLbl="bgShp" presStyleIdx="1" presStyleCnt="6"/>
      <dgm:spPr/>
    </dgm:pt>
    <dgm:pt modelId="{B431069B-6ED2-448D-A677-102971B1AC37}" type="pres">
      <dgm:prSet presAssocID="{C07821F6-5451-4773-80E7-BBE767F77B9A}" presName="iconRect" presStyleLbl="node1" presStyleIdx="1" presStyleCnt="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Truck"/>
        </a:ext>
      </dgm:extLst>
    </dgm:pt>
    <dgm:pt modelId="{F3ECF85C-F827-43AA-BD51-D6974A4EED32}" type="pres">
      <dgm:prSet presAssocID="{C07821F6-5451-4773-80E7-BBE767F77B9A}" presName="spaceRect" presStyleCnt="0"/>
      <dgm:spPr/>
    </dgm:pt>
    <dgm:pt modelId="{29B584C6-048B-460F-AF54-1B2A40717E6D}" type="pres">
      <dgm:prSet presAssocID="{C07821F6-5451-4773-80E7-BBE767F77B9A}" presName="textRect" presStyleLbl="revTx" presStyleIdx="1" presStyleCnt="6">
        <dgm:presLayoutVars>
          <dgm:chMax val="1"/>
          <dgm:chPref val="1"/>
        </dgm:presLayoutVars>
      </dgm:prSet>
      <dgm:spPr/>
    </dgm:pt>
    <dgm:pt modelId="{76A9C22D-AAEB-474D-BE96-9D2812661615}" type="pres">
      <dgm:prSet presAssocID="{153BF074-67B4-414A-A010-031DE52E8275}" presName="sibTrans" presStyleLbl="sibTrans2D1" presStyleIdx="0" presStyleCnt="0"/>
      <dgm:spPr/>
    </dgm:pt>
    <dgm:pt modelId="{C8C10A11-A59F-4B6B-B0EE-EE2C188397C6}" type="pres">
      <dgm:prSet presAssocID="{E4A3400F-97E0-4CFD-96E5-90D1EE69C3FB}" presName="compNode" presStyleCnt="0"/>
      <dgm:spPr/>
    </dgm:pt>
    <dgm:pt modelId="{DFB14E51-D376-4FB1-B8D9-5B0B8900843C}" type="pres">
      <dgm:prSet presAssocID="{E4A3400F-97E0-4CFD-96E5-90D1EE69C3FB}" presName="iconBgRect" presStyleLbl="bgShp" presStyleIdx="2" presStyleCnt="6"/>
      <dgm:spPr/>
    </dgm:pt>
    <dgm:pt modelId="{D7B0EAA1-3592-4D6D-910C-7B321FB3031F}" type="pres">
      <dgm:prSet presAssocID="{E4A3400F-97E0-4CFD-96E5-90D1EE69C3FB}" presName="iconRect" presStyleLbl="node1" presStyleIdx="2" presStyleCnt="6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Gears"/>
        </a:ext>
      </dgm:extLst>
    </dgm:pt>
    <dgm:pt modelId="{374F922F-7655-49C9-9FD9-4CE1E0A98CCB}" type="pres">
      <dgm:prSet presAssocID="{E4A3400F-97E0-4CFD-96E5-90D1EE69C3FB}" presName="spaceRect" presStyleCnt="0"/>
      <dgm:spPr/>
    </dgm:pt>
    <dgm:pt modelId="{32770289-182B-4045-873A-402E66B56EC8}" type="pres">
      <dgm:prSet presAssocID="{E4A3400F-97E0-4CFD-96E5-90D1EE69C3FB}" presName="textRect" presStyleLbl="revTx" presStyleIdx="2" presStyleCnt="6">
        <dgm:presLayoutVars>
          <dgm:chMax val="1"/>
          <dgm:chPref val="1"/>
        </dgm:presLayoutVars>
      </dgm:prSet>
      <dgm:spPr/>
    </dgm:pt>
    <dgm:pt modelId="{E3684BB5-ADA5-44DB-AECC-CA1E63BC7D78}" type="pres">
      <dgm:prSet presAssocID="{38C0D4C0-DEEB-484F-9DF6-EC2CEDE5E404}" presName="sibTrans" presStyleLbl="sibTrans2D1" presStyleIdx="0" presStyleCnt="0"/>
      <dgm:spPr/>
    </dgm:pt>
    <dgm:pt modelId="{B407C240-A094-4FE9-B0FD-E60006E64303}" type="pres">
      <dgm:prSet presAssocID="{A1343A58-DBE7-4C78-867F-4F4607E5ABE4}" presName="compNode" presStyleCnt="0"/>
      <dgm:spPr/>
    </dgm:pt>
    <dgm:pt modelId="{3FAD37DD-8DA3-48FE-B447-99FB490281E3}" type="pres">
      <dgm:prSet presAssocID="{A1343A58-DBE7-4C78-867F-4F4607E5ABE4}" presName="iconBgRect" presStyleLbl="bgShp" presStyleIdx="3" presStyleCnt="6"/>
      <dgm:spPr/>
    </dgm:pt>
    <dgm:pt modelId="{C79CA3D9-3031-400C-975D-EAC8ADD6F2FE}" type="pres">
      <dgm:prSet presAssocID="{A1343A58-DBE7-4C78-867F-4F4607E5ABE4}" presName="iconRect" presStyleLbl="node1" presStyleIdx="3" presStyleCnt="6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EBB2959A-8EA0-4A71-81B7-8AB6D999646A}" type="pres">
      <dgm:prSet presAssocID="{A1343A58-DBE7-4C78-867F-4F4607E5ABE4}" presName="spaceRect" presStyleCnt="0"/>
      <dgm:spPr/>
    </dgm:pt>
    <dgm:pt modelId="{F4D4F3CA-0BD7-4528-AF82-D2D02F9E8610}" type="pres">
      <dgm:prSet presAssocID="{A1343A58-DBE7-4C78-867F-4F4607E5ABE4}" presName="textRect" presStyleLbl="revTx" presStyleIdx="3" presStyleCnt="6">
        <dgm:presLayoutVars>
          <dgm:chMax val="1"/>
          <dgm:chPref val="1"/>
        </dgm:presLayoutVars>
      </dgm:prSet>
      <dgm:spPr/>
    </dgm:pt>
    <dgm:pt modelId="{A18FFD77-06B2-4B8D-BA22-65E8758C2817}" type="pres">
      <dgm:prSet presAssocID="{A04BB9F0-8323-41FC-8CC2-6C74E9CDEADF}" presName="sibTrans" presStyleLbl="sibTrans2D1" presStyleIdx="0" presStyleCnt="0"/>
      <dgm:spPr/>
    </dgm:pt>
    <dgm:pt modelId="{786D68CA-6294-4D29-9B46-48149F6CE1AF}" type="pres">
      <dgm:prSet presAssocID="{A1F7585E-BB91-4350-A67B-83032A1A8D9D}" presName="compNode" presStyleCnt="0"/>
      <dgm:spPr/>
    </dgm:pt>
    <dgm:pt modelId="{D1091CF0-4686-4AC9-970E-83D220B41B78}" type="pres">
      <dgm:prSet presAssocID="{A1F7585E-BB91-4350-A67B-83032A1A8D9D}" presName="iconBgRect" presStyleLbl="bgShp" presStyleIdx="4" presStyleCnt="6"/>
      <dgm:spPr/>
    </dgm:pt>
    <dgm:pt modelId="{97613B6C-3BDD-407D-B922-7969F92C7596}" type="pres">
      <dgm:prSet presAssocID="{A1F7585E-BB91-4350-A67B-83032A1A8D9D}" presName="iconRect" presStyleLbl="node1" presStyleIdx="4" presStyleCnt="6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heck List"/>
        </a:ext>
      </dgm:extLst>
    </dgm:pt>
    <dgm:pt modelId="{7289D732-9783-4C61-889A-67DDEDC00EFC}" type="pres">
      <dgm:prSet presAssocID="{A1F7585E-BB91-4350-A67B-83032A1A8D9D}" presName="spaceRect" presStyleCnt="0"/>
      <dgm:spPr/>
    </dgm:pt>
    <dgm:pt modelId="{C9CDB25E-EF07-4FCF-9A0A-51314EBAF786}" type="pres">
      <dgm:prSet presAssocID="{A1F7585E-BB91-4350-A67B-83032A1A8D9D}" presName="textRect" presStyleLbl="revTx" presStyleIdx="4" presStyleCnt="6">
        <dgm:presLayoutVars>
          <dgm:chMax val="1"/>
          <dgm:chPref val="1"/>
        </dgm:presLayoutVars>
      </dgm:prSet>
      <dgm:spPr/>
    </dgm:pt>
    <dgm:pt modelId="{9ED87BB3-4D1F-4A7A-BA2C-7431E317EBC2}" type="pres">
      <dgm:prSet presAssocID="{B9191579-167D-4C23-80FF-BFC262B8ED20}" presName="sibTrans" presStyleLbl="sibTrans2D1" presStyleIdx="0" presStyleCnt="0"/>
      <dgm:spPr/>
    </dgm:pt>
    <dgm:pt modelId="{9C6423B9-B68C-4573-96BC-2F43678EEDBC}" type="pres">
      <dgm:prSet presAssocID="{9FE4263F-1A93-48C4-A542-303A6A113C18}" presName="compNode" presStyleCnt="0"/>
      <dgm:spPr/>
    </dgm:pt>
    <dgm:pt modelId="{A712E1FF-2B6F-48D7-A253-0A28B2C3A9C9}" type="pres">
      <dgm:prSet presAssocID="{9FE4263F-1A93-48C4-A542-303A6A113C18}" presName="iconBgRect" presStyleLbl="bgShp" presStyleIdx="5" presStyleCnt="6"/>
      <dgm:spPr/>
    </dgm:pt>
    <dgm:pt modelId="{C5142778-A3A1-4A8E-A5EF-C8085C5E85C8}" type="pres">
      <dgm:prSet presAssocID="{9FE4263F-1A93-48C4-A542-303A6A113C18}" presName="iconRect" presStyleLbl="node1" presStyleIdx="5" presStyleCnt="6"/>
      <dgm:spPr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26B00B94-C15D-4615-B928-A2886EDFE09F}" type="pres">
      <dgm:prSet presAssocID="{9FE4263F-1A93-48C4-A542-303A6A113C18}" presName="spaceRect" presStyleCnt="0"/>
      <dgm:spPr/>
    </dgm:pt>
    <dgm:pt modelId="{875A6B5C-0060-4E2C-9E64-8BC2FFDE244F}" type="pres">
      <dgm:prSet presAssocID="{9FE4263F-1A93-48C4-A542-303A6A113C18}" presName="textRect" presStyleLbl="revTx" presStyleIdx="5" presStyleCnt="6">
        <dgm:presLayoutVars>
          <dgm:chMax val="1"/>
          <dgm:chPref val="1"/>
        </dgm:presLayoutVars>
      </dgm:prSet>
      <dgm:spPr/>
    </dgm:pt>
  </dgm:ptLst>
  <dgm:cxnLst>
    <dgm:cxn modelId="{EA44450E-DB81-49B4-8276-45101CDB1CC4}" srcId="{990B049B-35B8-4810-A9AB-C8D25C460AAB}" destId="{FED7C149-FEA6-4C03-8DF8-2215224864CC}" srcOrd="0" destOrd="0" parTransId="{0A1A5676-3050-447C-960D-3792C6129A2C}" sibTransId="{45B2E57E-4D43-4CA9-8D5C-34017545C233}"/>
    <dgm:cxn modelId="{E8674A1A-B65A-4D7D-8D25-671B12622154}" type="presOf" srcId="{A04BB9F0-8323-41FC-8CC2-6C74E9CDEADF}" destId="{A18FFD77-06B2-4B8D-BA22-65E8758C2817}" srcOrd="0" destOrd="0" presId="urn:microsoft.com/office/officeart/2018/2/layout/IconCircleList"/>
    <dgm:cxn modelId="{D57CBC20-749E-4B0F-90ED-DB6808BEAA5C}" type="presOf" srcId="{B9191579-167D-4C23-80FF-BFC262B8ED20}" destId="{9ED87BB3-4D1F-4A7A-BA2C-7431E317EBC2}" srcOrd="0" destOrd="0" presId="urn:microsoft.com/office/officeart/2018/2/layout/IconCircleList"/>
    <dgm:cxn modelId="{CF279540-E2C5-4E1E-8F28-2C2AF7D1D3EA}" type="presOf" srcId="{45B2E57E-4D43-4CA9-8D5C-34017545C233}" destId="{EB5F2544-4EB7-4FB0-B3EA-5F2411DFD0F5}" srcOrd="0" destOrd="0" presId="urn:microsoft.com/office/officeart/2018/2/layout/IconCircleList"/>
    <dgm:cxn modelId="{CCF41661-2011-4697-9755-95F54DF6D5C3}" srcId="{990B049B-35B8-4810-A9AB-C8D25C460AAB}" destId="{A1343A58-DBE7-4C78-867F-4F4607E5ABE4}" srcOrd="3" destOrd="0" parTransId="{CBF7D517-21F3-4225-B4C5-E303084F3246}" sibTransId="{A04BB9F0-8323-41FC-8CC2-6C74E9CDEADF}"/>
    <dgm:cxn modelId="{999F1946-856E-436A-BE9B-0E49691AE7D4}" type="presOf" srcId="{C07821F6-5451-4773-80E7-BBE767F77B9A}" destId="{29B584C6-048B-460F-AF54-1B2A40717E6D}" srcOrd="0" destOrd="0" presId="urn:microsoft.com/office/officeart/2018/2/layout/IconCircleList"/>
    <dgm:cxn modelId="{4EB99D71-59B7-4527-88A2-A852B90BDADB}" type="presOf" srcId="{990B049B-35B8-4810-A9AB-C8D25C460AAB}" destId="{DAEA27D0-BB52-44BF-A70C-163AA2D45BA7}" srcOrd="0" destOrd="0" presId="urn:microsoft.com/office/officeart/2018/2/layout/IconCircleList"/>
    <dgm:cxn modelId="{BFD70C81-B67C-48B4-9B10-CF1667A85078}" type="presOf" srcId="{A1F7585E-BB91-4350-A67B-83032A1A8D9D}" destId="{C9CDB25E-EF07-4FCF-9A0A-51314EBAF786}" srcOrd="0" destOrd="0" presId="urn:microsoft.com/office/officeart/2018/2/layout/IconCircleList"/>
    <dgm:cxn modelId="{17534798-7CD9-4028-911B-9B11E8ED0208}" srcId="{990B049B-35B8-4810-A9AB-C8D25C460AAB}" destId="{A1F7585E-BB91-4350-A67B-83032A1A8D9D}" srcOrd="4" destOrd="0" parTransId="{4F259836-9D1A-42E1-BD37-7C84FE2EDC1D}" sibTransId="{B9191579-167D-4C23-80FF-BFC262B8ED20}"/>
    <dgm:cxn modelId="{6A77B8A3-59CF-41CC-A044-4AEBB0877DB3}" srcId="{990B049B-35B8-4810-A9AB-C8D25C460AAB}" destId="{9FE4263F-1A93-48C4-A542-303A6A113C18}" srcOrd="5" destOrd="0" parTransId="{AF8B619A-3185-48D6-AE1F-B3D3111E3804}" sibTransId="{85ADC8C0-504D-4487-8C8E-0E1C43822299}"/>
    <dgm:cxn modelId="{38CF3DA4-8D7A-4BED-BFAB-904521A45E6C}" type="presOf" srcId="{9FE4263F-1A93-48C4-A542-303A6A113C18}" destId="{875A6B5C-0060-4E2C-9E64-8BC2FFDE244F}" srcOrd="0" destOrd="0" presId="urn:microsoft.com/office/officeart/2018/2/layout/IconCircleList"/>
    <dgm:cxn modelId="{05C331AA-B20A-4B84-A9CC-B095E06D1739}" type="presOf" srcId="{38C0D4C0-DEEB-484F-9DF6-EC2CEDE5E404}" destId="{E3684BB5-ADA5-44DB-AECC-CA1E63BC7D78}" srcOrd="0" destOrd="0" presId="urn:microsoft.com/office/officeart/2018/2/layout/IconCircleList"/>
    <dgm:cxn modelId="{2BD216B3-A2E6-48C7-9DFD-6D8C28E7DAFD}" srcId="{990B049B-35B8-4810-A9AB-C8D25C460AAB}" destId="{C07821F6-5451-4773-80E7-BBE767F77B9A}" srcOrd="1" destOrd="0" parTransId="{14BE51EA-0295-464F-AB79-2C808EE8F09A}" sibTransId="{153BF074-67B4-414A-A010-031DE52E8275}"/>
    <dgm:cxn modelId="{A12CAEC2-AEC4-430C-8836-C41773CD30DB}" type="presOf" srcId="{A1343A58-DBE7-4C78-867F-4F4607E5ABE4}" destId="{F4D4F3CA-0BD7-4528-AF82-D2D02F9E8610}" srcOrd="0" destOrd="0" presId="urn:microsoft.com/office/officeart/2018/2/layout/IconCircleList"/>
    <dgm:cxn modelId="{4852D9CB-7989-43DE-B94E-268A5EC8A382}" type="presOf" srcId="{153BF074-67B4-414A-A010-031DE52E8275}" destId="{76A9C22D-AAEB-474D-BE96-9D2812661615}" srcOrd="0" destOrd="0" presId="urn:microsoft.com/office/officeart/2018/2/layout/IconCircleList"/>
    <dgm:cxn modelId="{F86946D8-89A6-4867-B960-5737EB44C0D5}" type="presOf" srcId="{E4A3400F-97E0-4CFD-96E5-90D1EE69C3FB}" destId="{32770289-182B-4045-873A-402E66B56EC8}" srcOrd="0" destOrd="0" presId="urn:microsoft.com/office/officeart/2018/2/layout/IconCircleList"/>
    <dgm:cxn modelId="{E2A935DA-1DC8-4CE4-B37C-1867E2E0CB0B}" type="presOf" srcId="{FED7C149-FEA6-4C03-8DF8-2215224864CC}" destId="{66A6988C-0FD2-4228-A2F5-C4740C67DCC5}" srcOrd="0" destOrd="0" presId="urn:microsoft.com/office/officeart/2018/2/layout/IconCircleList"/>
    <dgm:cxn modelId="{6DDF9BF3-6D18-4EE8-8F3F-A26D92888AE8}" srcId="{990B049B-35B8-4810-A9AB-C8D25C460AAB}" destId="{E4A3400F-97E0-4CFD-96E5-90D1EE69C3FB}" srcOrd="2" destOrd="0" parTransId="{19C2DDEA-3AAC-4031-BBEC-3A3D00D43DAA}" sibTransId="{38C0D4C0-DEEB-484F-9DF6-EC2CEDE5E404}"/>
    <dgm:cxn modelId="{44A06518-8ACA-49C7-B1C2-CC592914B1B9}" type="presParOf" srcId="{DAEA27D0-BB52-44BF-A70C-163AA2D45BA7}" destId="{AC4EEBE4-EDA6-46A3-99DC-7FC901A1C82C}" srcOrd="0" destOrd="0" presId="urn:microsoft.com/office/officeart/2018/2/layout/IconCircleList"/>
    <dgm:cxn modelId="{872CF878-BBF5-4240-96A0-DC49B7D6E76E}" type="presParOf" srcId="{AC4EEBE4-EDA6-46A3-99DC-7FC901A1C82C}" destId="{B94DF0FB-AEA6-462D-92D8-6A723E961632}" srcOrd="0" destOrd="0" presId="urn:microsoft.com/office/officeart/2018/2/layout/IconCircleList"/>
    <dgm:cxn modelId="{DC9D9CF7-814A-4250-9902-696E6EB81506}" type="presParOf" srcId="{B94DF0FB-AEA6-462D-92D8-6A723E961632}" destId="{A451944F-758C-4939-AD3A-FCF12ABD7BAE}" srcOrd="0" destOrd="0" presId="urn:microsoft.com/office/officeart/2018/2/layout/IconCircleList"/>
    <dgm:cxn modelId="{14D70E43-B63A-4BB5-8C14-26DA26DFEE95}" type="presParOf" srcId="{B94DF0FB-AEA6-462D-92D8-6A723E961632}" destId="{A0982533-EC24-4BE7-8B3E-D8F0E88F5167}" srcOrd="1" destOrd="0" presId="urn:microsoft.com/office/officeart/2018/2/layout/IconCircleList"/>
    <dgm:cxn modelId="{0FADBD29-1A2E-46BF-A27C-3571CE6400A5}" type="presParOf" srcId="{B94DF0FB-AEA6-462D-92D8-6A723E961632}" destId="{481C3C36-7AB6-46B9-9EB7-F2738F8C7D01}" srcOrd="2" destOrd="0" presId="urn:microsoft.com/office/officeart/2018/2/layout/IconCircleList"/>
    <dgm:cxn modelId="{8C1FCEAA-F334-4429-A553-A1BECF4B5A12}" type="presParOf" srcId="{B94DF0FB-AEA6-462D-92D8-6A723E961632}" destId="{66A6988C-0FD2-4228-A2F5-C4740C67DCC5}" srcOrd="3" destOrd="0" presId="urn:microsoft.com/office/officeart/2018/2/layout/IconCircleList"/>
    <dgm:cxn modelId="{E72183E2-BA53-4291-8967-C9A818ADC94E}" type="presParOf" srcId="{AC4EEBE4-EDA6-46A3-99DC-7FC901A1C82C}" destId="{EB5F2544-4EB7-4FB0-B3EA-5F2411DFD0F5}" srcOrd="1" destOrd="0" presId="urn:microsoft.com/office/officeart/2018/2/layout/IconCircleList"/>
    <dgm:cxn modelId="{8C33B4CB-8A5F-423F-A640-26EF00EBD9E5}" type="presParOf" srcId="{AC4EEBE4-EDA6-46A3-99DC-7FC901A1C82C}" destId="{AD7CE749-03BD-4EC6-A226-277A9757FC4A}" srcOrd="2" destOrd="0" presId="urn:microsoft.com/office/officeart/2018/2/layout/IconCircleList"/>
    <dgm:cxn modelId="{A0242F19-C9CF-41D4-B012-8C5852D5BB63}" type="presParOf" srcId="{AD7CE749-03BD-4EC6-A226-277A9757FC4A}" destId="{AEB18801-AE12-4693-A9B3-943859D3B778}" srcOrd="0" destOrd="0" presId="urn:microsoft.com/office/officeart/2018/2/layout/IconCircleList"/>
    <dgm:cxn modelId="{E4404811-41C4-44B5-B9DD-AE4D8100E68A}" type="presParOf" srcId="{AD7CE749-03BD-4EC6-A226-277A9757FC4A}" destId="{B431069B-6ED2-448D-A677-102971B1AC37}" srcOrd="1" destOrd="0" presId="urn:microsoft.com/office/officeart/2018/2/layout/IconCircleList"/>
    <dgm:cxn modelId="{2054D6A1-56D8-4B39-8471-87B9DA005824}" type="presParOf" srcId="{AD7CE749-03BD-4EC6-A226-277A9757FC4A}" destId="{F3ECF85C-F827-43AA-BD51-D6974A4EED32}" srcOrd="2" destOrd="0" presId="urn:microsoft.com/office/officeart/2018/2/layout/IconCircleList"/>
    <dgm:cxn modelId="{EC91A8CC-D95E-4ACF-A829-31AA98A8F98D}" type="presParOf" srcId="{AD7CE749-03BD-4EC6-A226-277A9757FC4A}" destId="{29B584C6-048B-460F-AF54-1B2A40717E6D}" srcOrd="3" destOrd="0" presId="urn:microsoft.com/office/officeart/2018/2/layout/IconCircleList"/>
    <dgm:cxn modelId="{972F260A-506C-49AD-8CDB-2B299A38C2D9}" type="presParOf" srcId="{AC4EEBE4-EDA6-46A3-99DC-7FC901A1C82C}" destId="{76A9C22D-AAEB-474D-BE96-9D2812661615}" srcOrd="3" destOrd="0" presId="urn:microsoft.com/office/officeart/2018/2/layout/IconCircleList"/>
    <dgm:cxn modelId="{C7420EEA-0956-40AD-A5BA-6E223513A37E}" type="presParOf" srcId="{AC4EEBE4-EDA6-46A3-99DC-7FC901A1C82C}" destId="{C8C10A11-A59F-4B6B-B0EE-EE2C188397C6}" srcOrd="4" destOrd="0" presId="urn:microsoft.com/office/officeart/2018/2/layout/IconCircleList"/>
    <dgm:cxn modelId="{1E781243-2647-4126-A644-00341E3078CE}" type="presParOf" srcId="{C8C10A11-A59F-4B6B-B0EE-EE2C188397C6}" destId="{DFB14E51-D376-4FB1-B8D9-5B0B8900843C}" srcOrd="0" destOrd="0" presId="urn:microsoft.com/office/officeart/2018/2/layout/IconCircleList"/>
    <dgm:cxn modelId="{FC6EC232-5D2C-4C4C-A577-93ECFB9820C0}" type="presParOf" srcId="{C8C10A11-A59F-4B6B-B0EE-EE2C188397C6}" destId="{D7B0EAA1-3592-4D6D-910C-7B321FB3031F}" srcOrd="1" destOrd="0" presId="urn:microsoft.com/office/officeart/2018/2/layout/IconCircleList"/>
    <dgm:cxn modelId="{9101E71E-CB48-4E41-A394-3DB5C24821BB}" type="presParOf" srcId="{C8C10A11-A59F-4B6B-B0EE-EE2C188397C6}" destId="{374F922F-7655-49C9-9FD9-4CE1E0A98CCB}" srcOrd="2" destOrd="0" presId="urn:microsoft.com/office/officeart/2018/2/layout/IconCircleList"/>
    <dgm:cxn modelId="{B692B8D2-558B-45D0-82B3-B028C46E9388}" type="presParOf" srcId="{C8C10A11-A59F-4B6B-B0EE-EE2C188397C6}" destId="{32770289-182B-4045-873A-402E66B56EC8}" srcOrd="3" destOrd="0" presId="urn:microsoft.com/office/officeart/2018/2/layout/IconCircleList"/>
    <dgm:cxn modelId="{89E0F11E-A00A-44C4-9A05-29578A75421A}" type="presParOf" srcId="{AC4EEBE4-EDA6-46A3-99DC-7FC901A1C82C}" destId="{E3684BB5-ADA5-44DB-AECC-CA1E63BC7D78}" srcOrd="5" destOrd="0" presId="urn:microsoft.com/office/officeart/2018/2/layout/IconCircleList"/>
    <dgm:cxn modelId="{08FD3397-0431-4C90-9F2C-67FD52106296}" type="presParOf" srcId="{AC4EEBE4-EDA6-46A3-99DC-7FC901A1C82C}" destId="{B407C240-A094-4FE9-B0FD-E60006E64303}" srcOrd="6" destOrd="0" presId="urn:microsoft.com/office/officeart/2018/2/layout/IconCircleList"/>
    <dgm:cxn modelId="{67C3F264-1FE7-4D52-BBDF-5862A1B91509}" type="presParOf" srcId="{B407C240-A094-4FE9-B0FD-E60006E64303}" destId="{3FAD37DD-8DA3-48FE-B447-99FB490281E3}" srcOrd="0" destOrd="0" presId="urn:microsoft.com/office/officeart/2018/2/layout/IconCircleList"/>
    <dgm:cxn modelId="{AF902704-E56E-4FB6-8160-4A8708D3DFBE}" type="presParOf" srcId="{B407C240-A094-4FE9-B0FD-E60006E64303}" destId="{C79CA3D9-3031-400C-975D-EAC8ADD6F2FE}" srcOrd="1" destOrd="0" presId="urn:microsoft.com/office/officeart/2018/2/layout/IconCircleList"/>
    <dgm:cxn modelId="{0C0B0673-A85C-4A09-B5A0-00ECA6C52CFC}" type="presParOf" srcId="{B407C240-A094-4FE9-B0FD-E60006E64303}" destId="{EBB2959A-8EA0-4A71-81B7-8AB6D999646A}" srcOrd="2" destOrd="0" presId="urn:microsoft.com/office/officeart/2018/2/layout/IconCircleList"/>
    <dgm:cxn modelId="{E357FA90-DE36-44B0-A746-94FEF9B45D14}" type="presParOf" srcId="{B407C240-A094-4FE9-B0FD-E60006E64303}" destId="{F4D4F3CA-0BD7-4528-AF82-D2D02F9E8610}" srcOrd="3" destOrd="0" presId="urn:microsoft.com/office/officeart/2018/2/layout/IconCircleList"/>
    <dgm:cxn modelId="{8E3CD29E-237C-450D-A795-31FBB159842A}" type="presParOf" srcId="{AC4EEBE4-EDA6-46A3-99DC-7FC901A1C82C}" destId="{A18FFD77-06B2-4B8D-BA22-65E8758C2817}" srcOrd="7" destOrd="0" presId="urn:microsoft.com/office/officeart/2018/2/layout/IconCircleList"/>
    <dgm:cxn modelId="{0F7E1B3C-A72B-4D0F-BF50-96007217BD87}" type="presParOf" srcId="{AC4EEBE4-EDA6-46A3-99DC-7FC901A1C82C}" destId="{786D68CA-6294-4D29-9B46-48149F6CE1AF}" srcOrd="8" destOrd="0" presId="urn:microsoft.com/office/officeart/2018/2/layout/IconCircleList"/>
    <dgm:cxn modelId="{2BBF8D5F-B000-4D64-BE49-A5EE5103BC73}" type="presParOf" srcId="{786D68CA-6294-4D29-9B46-48149F6CE1AF}" destId="{D1091CF0-4686-4AC9-970E-83D220B41B78}" srcOrd="0" destOrd="0" presId="urn:microsoft.com/office/officeart/2018/2/layout/IconCircleList"/>
    <dgm:cxn modelId="{19A4CB83-B0EA-4830-8D28-46F20048FBDB}" type="presParOf" srcId="{786D68CA-6294-4D29-9B46-48149F6CE1AF}" destId="{97613B6C-3BDD-407D-B922-7969F92C7596}" srcOrd="1" destOrd="0" presId="urn:microsoft.com/office/officeart/2018/2/layout/IconCircleList"/>
    <dgm:cxn modelId="{B320C519-BC62-4BD1-A7D6-DCCEC08F3E1E}" type="presParOf" srcId="{786D68CA-6294-4D29-9B46-48149F6CE1AF}" destId="{7289D732-9783-4C61-889A-67DDEDC00EFC}" srcOrd="2" destOrd="0" presId="urn:microsoft.com/office/officeart/2018/2/layout/IconCircleList"/>
    <dgm:cxn modelId="{BC6006CC-044E-44DF-A7DF-16966D1E49CF}" type="presParOf" srcId="{786D68CA-6294-4D29-9B46-48149F6CE1AF}" destId="{C9CDB25E-EF07-4FCF-9A0A-51314EBAF786}" srcOrd="3" destOrd="0" presId="urn:microsoft.com/office/officeart/2018/2/layout/IconCircleList"/>
    <dgm:cxn modelId="{F75BFB56-5225-48F9-821B-24D390B184A9}" type="presParOf" srcId="{AC4EEBE4-EDA6-46A3-99DC-7FC901A1C82C}" destId="{9ED87BB3-4D1F-4A7A-BA2C-7431E317EBC2}" srcOrd="9" destOrd="0" presId="urn:microsoft.com/office/officeart/2018/2/layout/IconCircleList"/>
    <dgm:cxn modelId="{589A8CB1-F506-478D-BC25-BD08919590A8}" type="presParOf" srcId="{AC4EEBE4-EDA6-46A3-99DC-7FC901A1C82C}" destId="{9C6423B9-B68C-4573-96BC-2F43678EEDBC}" srcOrd="10" destOrd="0" presId="urn:microsoft.com/office/officeart/2018/2/layout/IconCircleList"/>
    <dgm:cxn modelId="{EC0F142E-7031-4FE1-BAE0-4D0C8794BB53}" type="presParOf" srcId="{9C6423B9-B68C-4573-96BC-2F43678EEDBC}" destId="{A712E1FF-2B6F-48D7-A253-0A28B2C3A9C9}" srcOrd="0" destOrd="0" presId="urn:microsoft.com/office/officeart/2018/2/layout/IconCircleList"/>
    <dgm:cxn modelId="{99654B58-6D43-4BB0-AA82-9A469F58876E}" type="presParOf" srcId="{9C6423B9-B68C-4573-96BC-2F43678EEDBC}" destId="{C5142778-A3A1-4A8E-A5EF-C8085C5E85C8}" srcOrd="1" destOrd="0" presId="urn:microsoft.com/office/officeart/2018/2/layout/IconCircleList"/>
    <dgm:cxn modelId="{2E704DD2-D52A-47F8-88F0-8DC5AE1412FB}" type="presParOf" srcId="{9C6423B9-B68C-4573-96BC-2F43678EEDBC}" destId="{26B00B94-C15D-4615-B928-A2886EDFE09F}" srcOrd="2" destOrd="0" presId="urn:microsoft.com/office/officeart/2018/2/layout/IconCircleList"/>
    <dgm:cxn modelId="{6815F11E-9C50-4285-92EA-CA5AD5941118}" type="presParOf" srcId="{9C6423B9-B68C-4573-96BC-2F43678EEDBC}" destId="{875A6B5C-0060-4E2C-9E64-8BC2FFDE244F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B45774-DB33-463D-A1FC-0D2F2628DA9B}">
      <dsp:nvSpPr>
        <dsp:cNvPr id="0" name=""/>
        <dsp:cNvSpPr/>
      </dsp:nvSpPr>
      <dsp:spPr>
        <a:xfrm>
          <a:off x="0" y="2447"/>
          <a:ext cx="6588691" cy="1240389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DCE9E2E-DFC2-43F0-A908-92E6B8492886}">
      <dsp:nvSpPr>
        <dsp:cNvPr id="0" name=""/>
        <dsp:cNvSpPr/>
      </dsp:nvSpPr>
      <dsp:spPr>
        <a:xfrm>
          <a:off x="375217" y="281534"/>
          <a:ext cx="682214" cy="682214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93B0A1A-536A-4BF0-8C1E-38CBA41E3033}">
      <dsp:nvSpPr>
        <dsp:cNvPr id="0" name=""/>
        <dsp:cNvSpPr/>
      </dsp:nvSpPr>
      <dsp:spPr>
        <a:xfrm>
          <a:off x="1432649" y="2447"/>
          <a:ext cx="5156041" cy="12403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1275" tIns="131275" rIns="131275" bIns="131275" numCol="1" spcCol="1270" anchor="ctr" anchorCtr="0">
          <a:noAutofit/>
        </a:bodyPr>
        <a:lstStyle/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/>
            <a:t>Integrity </a:t>
          </a:r>
          <a:r>
            <a:rPr lang="en-US" sz="1700" kern="1200"/>
            <a:t>– We act honestly and transparently.  </a:t>
          </a:r>
        </a:p>
      </dsp:txBody>
      <dsp:txXfrm>
        <a:off x="1432649" y="2447"/>
        <a:ext cx="5156041" cy="1240389"/>
      </dsp:txXfrm>
    </dsp:sp>
    <dsp:sp modelId="{33556901-E03D-4330-9AA8-15B744BC1821}">
      <dsp:nvSpPr>
        <dsp:cNvPr id="0" name=""/>
        <dsp:cNvSpPr/>
      </dsp:nvSpPr>
      <dsp:spPr>
        <a:xfrm>
          <a:off x="0" y="1552933"/>
          <a:ext cx="6588691" cy="1240389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5E858DB-9A6E-4E75-9D57-8D42AE42F561}">
      <dsp:nvSpPr>
        <dsp:cNvPr id="0" name=""/>
        <dsp:cNvSpPr/>
      </dsp:nvSpPr>
      <dsp:spPr>
        <a:xfrm>
          <a:off x="375217" y="1832021"/>
          <a:ext cx="682214" cy="682214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F816C56-B4FE-461A-9C87-87A250D8B1FF}">
      <dsp:nvSpPr>
        <dsp:cNvPr id="0" name=""/>
        <dsp:cNvSpPr/>
      </dsp:nvSpPr>
      <dsp:spPr>
        <a:xfrm>
          <a:off x="1432649" y="1552933"/>
          <a:ext cx="5156041" cy="12403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1275" tIns="131275" rIns="131275" bIns="131275" numCol="1" spcCol="1270" anchor="ctr" anchorCtr="0">
          <a:noAutofit/>
        </a:bodyPr>
        <a:lstStyle/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/>
            <a:t>Respect </a:t>
          </a:r>
          <a:r>
            <a:rPr lang="en-US" sz="1700" kern="1200"/>
            <a:t>– We treat everyone with respect, cultivate an inclusive and constructive environment for all, and always assume good intent.</a:t>
          </a:r>
        </a:p>
      </dsp:txBody>
      <dsp:txXfrm>
        <a:off x="1432649" y="1552933"/>
        <a:ext cx="5156041" cy="1240389"/>
      </dsp:txXfrm>
    </dsp:sp>
    <dsp:sp modelId="{99039799-2042-45F0-AD21-EE49CCB79B0A}">
      <dsp:nvSpPr>
        <dsp:cNvPr id="0" name=""/>
        <dsp:cNvSpPr/>
      </dsp:nvSpPr>
      <dsp:spPr>
        <a:xfrm>
          <a:off x="0" y="3103420"/>
          <a:ext cx="6588691" cy="1240389"/>
        </a:xfrm>
        <a:prstGeom prst="roundRect">
          <a:avLst>
            <a:gd name="adj" fmla="val 10000"/>
          </a:avLst>
        </a:prstGeom>
        <a:solidFill>
          <a:srgbClr val="67829F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6290D9-E67B-4511-AC17-CB7594C7AC15}">
      <dsp:nvSpPr>
        <dsp:cNvPr id="0" name=""/>
        <dsp:cNvSpPr/>
      </dsp:nvSpPr>
      <dsp:spPr>
        <a:xfrm>
          <a:off x="375217" y="3382507"/>
          <a:ext cx="682214" cy="682214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5CEB58-9E47-4F77-AAC4-1F1F32C76BB3}">
      <dsp:nvSpPr>
        <dsp:cNvPr id="0" name=""/>
        <dsp:cNvSpPr/>
      </dsp:nvSpPr>
      <dsp:spPr>
        <a:xfrm>
          <a:off x="1432649" y="3103420"/>
          <a:ext cx="5156041" cy="12403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1275" tIns="131275" rIns="131275" bIns="131275" numCol="1" spcCol="1270" anchor="ctr" anchorCtr="0">
          <a:noAutofit/>
        </a:bodyPr>
        <a:lstStyle/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/>
            <a:t>Growth Mindset</a:t>
          </a:r>
          <a:r>
            <a:rPr lang="en-US" sz="1700" kern="1200"/>
            <a:t> – We strive for excellence by empowering our staff to design the best solutions, continually improving along the way.</a:t>
          </a:r>
        </a:p>
      </dsp:txBody>
      <dsp:txXfrm>
        <a:off x="1432649" y="3103420"/>
        <a:ext cx="5156041" cy="1240389"/>
      </dsp:txXfrm>
    </dsp:sp>
    <dsp:sp modelId="{251B80BA-E864-425B-823C-8D233D64EBC7}">
      <dsp:nvSpPr>
        <dsp:cNvPr id="0" name=""/>
        <dsp:cNvSpPr/>
      </dsp:nvSpPr>
      <dsp:spPr>
        <a:xfrm>
          <a:off x="0" y="4653906"/>
          <a:ext cx="6588691" cy="1240389"/>
        </a:xfrm>
        <a:prstGeom prst="roundRect">
          <a:avLst>
            <a:gd name="adj" fmla="val 10000"/>
          </a:avLst>
        </a:prstGeom>
        <a:solidFill>
          <a:srgbClr val="1E3E2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A88F53-F165-475E-8EEE-B808CDD6C5DA}">
      <dsp:nvSpPr>
        <dsp:cNvPr id="0" name=""/>
        <dsp:cNvSpPr/>
      </dsp:nvSpPr>
      <dsp:spPr>
        <a:xfrm>
          <a:off x="375217" y="4932994"/>
          <a:ext cx="682214" cy="682214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57E3C9A-E7D8-43C1-9D3C-B76DBED48073}">
      <dsp:nvSpPr>
        <dsp:cNvPr id="0" name=""/>
        <dsp:cNvSpPr/>
      </dsp:nvSpPr>
      <dsp:spPr>
        <a:xfrm>
          <a:off x="1432649" y="4653906"/>
          <a:ext cx="5156041" cy="12403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1275" tIns="131275" rIns="131275" bIns="131275" numCol="1" spcCol="1270" anchor="ctr" anchorCtr="0">
          <a:noAutofit/>
        </a:bodyPr>
        <a:lstStyle/>
        <a:p>
          <a:pPr marL="0" lvl="0" indent="0" algn="l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/>
            <a:t>Our Customers</a:t>
          </a:r>
          <a:r>
            <a:rPr lang="en-US" sz="1700" kern="1200"/>
            <a:t> – We exist to serve and protect our customers.  Our goal is to consistently deliver superior outcomes and make a difference for our customers. </a:t>
          </a:r>
        </a:p>
      </dsp:txBody>
      <dsp:txXfrm>
        <a:off x="1432649" y="4653906"/>
        <a:ext cx="5156041" cy="124038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8A79D11-FF7C-4CA3-8367-E82665C96793}">
      <dsp:nvSpPr>
        <dsp:cNvPr id="0" name=""/>
        <dsp:cNvSpPr/>
      </dsp:nvSpPr>
      <dsp:spPr>
        <a:xfrm>
          <a:off x="0" y="1393"/>
          <a:ext cx="6922404" cy="59376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3D67DE0-0E50-43EB-8386-B738D7F0D48C}">
      <dsp:nvSpPr>
        <dsp:cNvPr id="0" name=""/>
        <dsp:cNvSpPr/>
      </dsp:nvSpPr>
      <dsp:spPr>
        <a:xfrm>
          <a:off x="179614" y="134991"/>
          <a:ext cx="326571" cy="32657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3CB086A-A7B9-406B-8375-EB6FFA7E466B}">
      <dsp:nvSpPr>
        <dsp:cNvPr id="0" name=""/>
        <dsp:cNvSpPr/>
      </dsp:nvSpPr>
      <dsp:spPr>
        <a:xfrm>
          <a:off x="685801" y="1393"/>
          <a:ext cx="6236602" cy="59376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2840" tIns="62840" rIns="62840" bIns="62840" numCol="1" spcCol="1270" anchor="ctr" anchorCtr="0">
          <a:noAutofit/>
        </a:bodyPr>
        <a:lstStyle/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>
              <a:latin typeface="Century Gothic" panose="020B0502020202020204"/>
            </a:rPr>
            <a:t>Gain efficiences of scale</a:t>
          </a:r>
        </a:p>
      </dsp:txBody>
      <dsp:txXfrm>
        <a:off x="685801" y="1393"/>
        <a:ext cx="6236602" cy="593767"/>
      </dsp:txXfrm>
    </dsp:sp>
    <dsp:sp modelId="{67E7FF47-7A6D-4C6F-8395-6236ADC8B18A}">
      <dsp:nvSpPr>
        <dsp:cNvPr id="0" name=""/>
        <dsp:cNvSpPr/>
      </dsp:nvSpPr>
      <dsp:spPr>
        <a:xfrm>
          <a:off x="0" y="743602"/>
          <a:ext cx="6922404" cy="59376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70D64D0-484D-4F10-A676-C062DFA6CEF5}">
      <dsp:nvSpPr>
        <dsp:cNvPr id="0" name=""/>
        <dsp:cNvSpPr/>
      </dsp:nvSpPr>
      <dsp:spPr>
        <a:xfrm>
          <a:off x="179614" y="877200"/>
          <a:ext cx="326571" cy="32657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081B956-E89D-442D-9F0D-5A3A05A76B80}">
      <dsp:nvSpPr>
        <dsp:cNvPr id="0" name=""/>
        <dsp:cNvSpPr/>
      </dsp:nvSpPr>
      <dsp:spPr>
        <a:xfrm>
          <a:off x="685801" y="743602"/>
          <a:ext cx="6236602" cy="59376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2840" tIns="62840" rIns="62840" bIns="62840" numCol="1" spcCol="1270" anchor="ctr" anchorCtr="0">
          <a:noAutofit/>
        </a:bodyPr>
        <a:lstStyle/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>
              <a:latin typeface="Century Gothic" panose="020B0502020202020204"/>
            </a:rPr>
            <a:t>Provide value to campuses through the benefit of shared knowledge and infrastructure</a:t>
          </a:r>
          <a:endParaRPr lang="en-US" sz="1500" kern="1200"/>
        </a:p>
      </dsp:txBody>
      <dsp:txXfrm>
        <a:off x="685801" y="743602"/>
        <a:ext cx="6236602" cy="593767"/>
      </dsp:txXfrm>
    </dsp:sp>
    <dsp:sp modelId="{B1781135-552C-4A9A-904B-506704CB7CE4}">
      <dsp:nvSpPr>
        <dsp:cNvPr id="0" name=""/>
        <dsp:cNvSpPr/>
      </dsp:nvSpPr>
      <dsp:spPr>
        <a:xfrm>
          <a:off x="0" y="1485811"/>
          <a:ext cx="6922404" cy="59376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65D1435-C241-49AA-99E5-33C5C3B18B7C}">
      <dsp:nvSpPr>
        <dsp:cNvPr id="0" name=""/>
        <dsp:cNvSpPr/>
      </dsp:nvSpPr>
      <dsp:spPr>
        <a:xfrm>
          <a:off x="179614" y="1619409"/>
          <a:ext cx="326571" cy="32657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CB37E99-94D3-4AA3-B7C0-CD791E761633}">
      <dsp:nvSpPr>
        <dsp:cNvPr id="0" name=""/>
        <dsp:cNvSpPr/>
      </dsp:nvSpPr>
      <dsp:spPr>
        <a:xfrm>
          <a:off x="685801" y="1485811"/>
          <a:ext cx="6236602" cy="59376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2840" tIns="62840" rIns="62840" bIns="62840" numCol="1" spcCol="1270" anchor="ctr" anchorCtr="0">
          <a:noAutofit/>
        </a:bodyPr>
        <a:lstStyle/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>
              <a:latin typeface="Century Gothic" panose="020B0502020202020204"/>
            </a:rPr>
            <a:t>Provide full support and management of common systems</a:t>
          </a:r>
        </a:p>
      </dsp:txBody>
      <dsp:txXfrm>
        <a:off x="685801" y="1485811"/>
        <a:ext cx="6236602" cy="593767"/>
      </dsp:txXfrm>
    </dsp:sp>
    <dsp:sp modelId="{B0610DF9-0004-4ABD-B5C4-BDDBFFA60E61}">
      <dsp:nvSpPr>
        <dsp:cNvPr id="0" name=""/>
        <dsp:cNvSpPr/>
      </dsp:nvSpPr>
      <dsp:spPr>
        <a:xfrm>
          <a:off x="0" y="2228020"/>
          <a:ext cx="6922404" cy="59376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0E2EE48-5F72-4B13-BBE7-3E1DABC71E6F}">
      <dsp:nvSpPr>
        <dsp:cNvPr id="0" name=""/>
        <dsp:cNvSpPr/>
      </dsp:nvSpPr>
      <dsp:spPr>
        <a:xfrm>
          <a:off x="179614" y="2361618"/>
          <a:ext cx="326571" cy="32657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F024CB9-9A27-4182-BC44-0774FD4A685D}">
      <dsp:nvSpPr>
        <dsp:cNvPr id="0" name=""/>
        <dsp:cNvSpPr/>
      </dsp:nvSpPr>
      <dsp:spPr>
        <a:xfrm>
          <a:off x="685801" y="2228020"/>
          <a:ext cx="6236602" cy="59376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2840" tIns="62840" rIns="62840" bIns="62840" numCol="1" spcCol="1270" anchor="ctr" anchorCtr="0">
          <a:noAutofit/>
        </a:bodyPr>
        <a:lstStyle/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>
              <a:latin typeface="Century Gothic" panose="020B0502020202020204"/>
            </a:rPr>
            <a:t>Standardize and document common processes</a:t>
          </a:r>
        </a:p>
      </dsp:txBody>
      <dsp:txXfrm>
        <a:off x="685801" y="2228020"/>
        <a:ext cx="6236602" cy="593767"/>
      </dsp:txXfrm>
    </dsp:sp>
    <dsp:sp modelId="{7E96F013-335D-40FC-9851-87A7E3B5E472}">
      <dsp:nvSpPr>
        <dsp:cNvPr id="0" name=""/>
        <dsp:cNvSpPr/>
      </dsp:nvSpPr>
      <dsp:spPr>
        <a:xfrm>
          <a:off x="0" y="2970229"/>
          <a:ext cx="6922404" cy="59376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872712D-9401-4089-9599-6B00342E9ED1}">
      <dsp:nvSpPr>
        <dsp:cNvPr id="0" name=""/>
        <dsp:cNvSpPr/>
      </dsp:nvSpPr>
      <dsp:spPr>
        <a:xfrm>
          <a:off x="179614" y="3103826"/>
          <a:ext cx="326571" cy="32657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1AEC2BF-0005-4D73-8D04-B1520B43468D}">
      <dsp:nvSpPr>
        <dsp:cNvPr id="0" name=""/>
        <dsp:cNvSpPr/>
      </dsp:nvSpPr>
      <dsp:spPr>
        <a:xfrm>
          <a:off x="685801" y="2970229"/>
          <a:ext cx="6236602" cy="59376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2840" tIns="62840" rIns="62840" bIns="62840" numCol="1" spcCol="1270" anchor="ctr" anchorCtr="0">
          <a:noAutofit/>
        </a:bodyPr>
        <a:lstStyle/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>
              <a:latin typeface="Century Gothic" panose="020B0502020202020204"/>
            </a:rPr>
            <a:t>Identify opportunities to expand efficiencies and improve services</a:t>
          </a:r>
        </a:p>
      </dsp:txBody>
      <dsp:txXfrm>
        <a:off x="685801" y="2970229"/>
        <a:ext cx="6236602" cy="593767"/>
      </dsp:txXfrm>
    </dsp:sp>
    <dsp:sp modelId="{43B3D544-7D9D-4807-9104-A9784284305F}">
      <dsp:nvSpPr>
        <dsp:cNvPr id="0" name=""/>
        <dsp:cNvSpPr/>
      </dsp:nvSpPr>
      <dsp:spPr>
        <a:xfrm>
          <a:off x="0" y="3712438"/>
          <a:ext cx="6922404" cy="59376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2259AC1-66CC-4A4A-AF53-C17B547E24E2}">
      <dsp:nvSpPr>
        <dsp:cNvPr id="0" name=""/>
        <dsp:cNvSpPr/>
      </dsp:nvSpPr>
      <dsp:spPr>
        <a:xfrm>
          <a:off x="179614" y="3846035"/>
          <a:ext cx="326571" cy="32657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16FB8EE-AF99-43E4-A488-6EA20606776E}">
      <dsp:nvSpPr>
        <dsp:cNvPr id="0" name=""/>
        <dsp:cNvSpPr/>
      </dsp:nvSpPr>
      <dsp:spPr>
        <a:xfrm>
          <a:off x="685801" y="3712438"/>
          <a:ext cx="6236602" cy="59376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2840" tIns="62840" rIns="62840" bIns="62840" numCol="1" spcCol="1270" anchor="ctr" anchorCtr="0">
          <a:noAutofit/>
        </a:bodyPr>
        <a:lstStyle/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>
              <a:latin typeface="Century Gothic" panose="020B0502020202020204"/>
            </a:rPr>
            <a:t>Meet internal audit requirements and UW System Administration Information Security Policies</a:t>
          </a:r>
        </a:p>
      </dsp:txBody>
      <dsp:txXfrm>
        <a:off x="685801" y="3712438"/>
        <a:ext cx="6236602" cy="59376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451944F-758C-4939-AD3A-FCF12ABD7BAE}">
      <dsp:nvSpPr>
        <dsp:cNvPr id="0" name=""/>
        <dsp:cNvSpPr/>
      </dsp:nvSpPr>
      <dsp:spPr>
        <a:xfrm>
          <a:off x="57225" y="165829"/>
          <a:ext cx="769653" cy="769653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0982533-EC24-4BE7-8B3E-D8F0E88F5167}">
      <dsp:nvSpPr>
        <dsp:cNvPr id="0" name=""/>
        <dsp:cNvSpPr/>
      </dsp:nvSpPr>
      <dsp:spPr>
        <a:xfrm>
          <a:off x="218853" y="327457"/>
          <a:ext cx="446399" cy="44639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6A6988C-0FD2-4228-A2F5-C4740C67DCC5}">
      <dsp:nvSpPr>
        <dsp:cNvPr id="0" name=""/>
        <dsp:cNvSpPr/>
      </dsp:nvSpPr>
      <dsp:spPr>
        <a:xfrm>
          <a:off x="991805" y="165829"/>
          <a:ext cx="1814183" cy="7696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>
              <a:latin typeface="Century Gothic" panose="020B0502020202020204"/>
            </a:rPr>
            <a:t>Supporting current environments</a:t>
          </a:r>
        </a:p>
      </dsp:txBody>
      <dsp:txXfrm>
        <a:off x="991805" y="165829"/>
        <a:ext cx="1814183" cy="769653"/>
      </dsp:txXfrm>
    </dsp:sp>
    <dsp:sp modelId="{AEB18801-AE12-4693-A9B3-943859D3B778}">
      <dsp:nvSpPr>
        <dsp:cNvPr id="0" name=""/>
        <dsp:cNvSpPr/>
      </dsp:nvSpPr>
      <dsp:spPr>
        <a:xfrm>
          <a:off x="3122097" y="165829"/>
          <a:ext cx="769653" cy="769653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431069B-6ED2-448D-A677-102971B1AC37}">
      <dsp:nvSpPr>
        <dsp:cNvPr id="0" name=""/>
        <dsp:cNvSpPr/>
      </dsp:nvSpPr>
      <dsp:spPr>
        <a:xfrm>
          <a:off x="3283724" y="327457"/>
          <a:ext cx="446399" cy="446399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9B584C6-048B-460F-AF54-1B2A40717E6D}">
      <dsp:nvSpPr>
        <dsp:cNvPr id="0" name=""/>
        <dsp:cNvSpPr/>
      </dsp:nvSpPr>
      <dsp:spPr>
        <a:xfrm>
          <a:off x="4056677" y="165829"/>
          <a:ext cx="1814183" cy="7696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/>
            <a:t>Waiting on hardware delivery</a:t>
          </a:r>
        </a:p>
      </dsp:txBody>
      <dsp:txXfrm>
        <a:off x="4056677" y="165829"/>
        <a:ext cx="1814183" cy="769653"/>
      </dsp:txXfrm>
    </dsp:sp>
    <dsp:sp modelId="{DFB14E51-D376-4FB1-B8D9-5B0B8900843C}">
      <dsp:nvSpPr>
        <dsp:cNvPr id="0" name=""/>
        <dsp:cNvSpPr/>
      </dsp:nvSpPr>
      <dsp:spPr>
        <a:xfrm>
          <a:off x="57225" y="1615643"/>
          <a:ext cx="769653" cy="769653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7B0EAA1-3592-4D6D-910C-7B321FB3031F}">
      <dsp:nvSpPr>
        <dsp:cNvPr id="0" name=""/>
        <dsp:cNvSpPr/>
      </dsp:nvSpPr>
      <dsp:spPr>
        <a:xfrm>
          <a:off x="218853" y="1777270"/>
          <a:ext cx="446399" cy="446399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2770289-182B-4045-873A-402E66B56EC8}">
      <dsp:nvSpPr>
        <dsp:cNvPr id="0" name=""/>
        <dsp:cNvSpPr/>
      </dsp:nvSpPr>
      <dsp:spPr>
        <a:xfrm>
          <a:off x="991805" y="1615643"/>
          <a:ext cx="1814183" cy="7696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/>
            <a:t>Completing detailed discoveries</a:t>
          </a:r>
        </a:p>
      </dsp:txBody>
      <dsp:txXfrm>
        <a:off x="991805" y="1615643"/>
        <a:ext cx="1814183" cy="769653"/>
      </dsp:txXfrm>
    </dsp:sp>
    <dsp:sp modelId="{3FAD37DD-8DA3-48FE-B447-99FB490281E3}">
      <dsp:nvSpPr>
        <dsp:cNvPr id="0" name=""/>
        <dsp:cNvSpPr/>
      </dsp:nvSpPr>
      <dsp:spPr>
        <a:xfrm>
          <a:off x="3122097" y="1615643"/>
          <a:ext cx="769653" cy="769653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79CA3D9-3031-400C-975D-EAC8ADD6F2FE}">
      <dsp:nvSpPr>
        <dsp:cNvPr id="0" name=""/>
        <dsp:cNvSpPr/>
      </dsp:nvSpPr>
      <dsp:spPr>
        <a:xfrm>
          <a:off x="3283724" y="1777270"/>
          <a:ext cx="446399" cy="446399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4D4F3CA-0BD7-4528-AF82-D2D02F9E8610}">
      <dsp:nvSpPr>
        <dsp:cNvPr id="0" name=""/>
        <dsp:cNvSpPr/>
      </dsp:nvSpPr>
      <dsp:spPr>
        <a:xfrm>
          <a:off x="4056677" y="1615643"/>
          <a:ext cx="1814183" cy="7696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/>
            <a:t>Planning and designing architecture</a:t>
          </a:r>
        </a:p>
      </dsp:txBody>
      <dsp:txXfrm>
        <a:off x="4056677" y="1615643"/>
        <a:ext cx="1814183" cy="769653"/>
      </dsp:txXfrm>
    </dsp:sp>
    <dsp:sp modelId="{D1091CF0-4686-4AC9-970E-83D220B41B78}">
      <dsp:nvSpPr>
        <dsp:cNvPr id="0" name=""/>
        <dsp:cNvSpPr/>
      </dsp:nvSpPr>
      <dsp:spPr>
        <a:xfrm>
          <a:off x="57225" y="3065457"/>
          <a:ext cx="769653" cy="769653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7613B6C-3BDD-407D-B922-7969F92C7596}">
      <dsp:nvSpPr>
        <dsp:cNvPr id="0" name=""/>
        <dsp:cNvSpPr/>
      </dsp:nvSpPr>
      <dsp:spPr>
        <a:xfrm>
          <a:off x="218853" y="3227084"/>
          <a:ext cx="446399" cy="446399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9CDB25E-EF07-4FCF-9A0A-51314EBAF786}">
      <dsp:nvSpPr>
        <dsp:cNvPr id="0" name=""/>
        <dsp:cNvSpPr/>
      </dsp:nvSpPr>
      <dsp:spPr>
        <a:xfrm>
          <a:off x="991805" y="3065457"/>
          <a:ext cx="1814183" cy="7696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/>
            <a:t>Mitigating technical debt</a:t>
          </a:r>
        </a:p>
      </dsp:txBody>
      <dsp:txXfrm>
        <a:off x="991805" y="3065457"/>
        <a:ext cx="1814183" cy="769653"/>
      </dsp:txXfrm>
    </dsp:sp>
    <dsp:sp modelId="{A712E1FF-2B6F-48D7-A253-0A28B2C3A9C9}">
      <dsp:nvSpPr>
        <dsp:cNvPr id="0" name=""/>
        <dsp:cNvSpPr/>
      </dsp:nvSpPr>
      <dsp:spPr>
        <a:xfrm>
          <a:off x="3122097" y="3065457"/>
          <a:ext cx="769653" cy="769653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5142778-A3A1-4A8E-A5EF-C8085C5E85C8}">
      <dsp:nvSpPr>
        <dsp:cNvPr id="0" name=""/>
        <dsp:cNvSpPr/>
      </dsp:nvSpPr>
      <dsp:spPr>
        <a:xfrm>
          <a:off x="3283724" y="3227084"/>
          <a:ext cx="446399" cy="446399"/>
        </a:xfrm>
        <a:prstGeom prst="rect">
          <a:avLst/>
        </a:prstGeom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75A6B5C-0060-4E2C-9E64-8BC2FFDE244F}">
      <dsp:nvSpPr>
        <dsp:cNvPr id="0" name=""/>
        <dsp:cNvSpPr/>
      </dsp:nvSpPr>
      <dsp:spPr>
        <a:xfrm>
          <a:off x="4056677" y="3065457"/>
          <a:ext cx="1814183" cy="7696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/>
            <a:t>Developing standard operating procedures</a:t>
          </a:r>
        </a:p>
      </dsp:txBody>
      <dsp:txXfrm>
        <a:off x="4056677" y="3065457"/>
        <a:ext cx="1814183" cy="76965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BB329C-3E39-284E-8F06-9DB7C8C8A846}" type="datetimeFigureOut">
              <a:rPr lang="en-US" smtClean="0"/>
              <a:t>5/2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E15C1E-69AD-3443-A01D-C5DA0C51ED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3883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E15C1E-69AD-3443-A01D-C5DA0C51ED5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78894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8750" y="1592263"/>
            <a:ext cx="7307263" cy="4111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7535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8750" y="1592263"/>
            <a:ext cx="7307263" cy="4111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20695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noFill/>
        </p:spPr>
        <p:txBody>
          <a:bodyPr anchor="b"/>
          <a:lstStyle>
            <a:lvl1pPr algn="ctr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1D44E1-CAE5-4343-8423-D90C7CA068A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5/26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4245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4EB4448-BD59-BC43-9A33-0563077BEF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8474" y="6310312"/>
            <a:ext cx="2743200" cy="365125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6B2801F-AB2E-47A4-A198-B654C0E81C2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7868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noFill/>
        </p:spPr>
        <p:txBody>
          <a:bodyPr anchor="b"/>
          <a:lstStyle>
            <a:lvl1pPr algn="ctr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1D44E1-CAE5-4343-8423-D90C7CA068A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5/26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070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D063D0-7C5C-3A46-8B2D-F048FF388DA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5/26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AE5F9AA-67F0-044C-9AE1-3D4727AD82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8474" y="6310312"/>
            <a:ext cx="2743200" cy="365125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6B2801F-AB2E-47A4-A198-B654C0E81C2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764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noFill/>
        </p:spPr>
        <p:txBody>
          <a:bodyPr vert="horz" lIns="91440" tIns="45720" rIns="91440" bIns="45720" rtlCol="0" anchor="b">
            <a:noAutofit/>
          </a:bodyPr>
          <a:lstStyle>
            <a:lvl1pPr>
              <a:defRPr lang="en-US" sz="6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96F561-2785-AF40-81CF-73B281EAF88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5/26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9288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9F176E-120B-6444-8035-D5AC43AC10F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5/26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3033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65125"/>
            <a:ext cx="12192000" cy="512699"/>
          </a:xfrm>
          <a:solidFill>
            <a:schemeClr val="accent3"/>
          </a:solidFill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26663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090547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26663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090547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B2501-AB7F-BD4B-89F6-1E4E6C3250A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5/26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2438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05106E-E64C-A44C-AA13-A76A1091AAD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5/26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745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E0EBD7-02AA-3D41-BC8E-3DE95B40F67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5/26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9183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788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4EB4448-BD59-BC43-9A33-0563077BEF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8474" y="6310312"/>
            <a:ext cx="2743200" cy="365125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6B2801F-AB2E-47A4-A198-B654C0E81C2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2525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D063D0-7C5C-3A46-8B2D-F048FF388DA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5/26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AE5F9AA-67F0-044C-9AE1-3D4727AD82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8474" y="6310312"/>
            <a:ext cx="2743200" cy="365125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6B2801F-AB2E-47A4-A198-B654C0E81C2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1893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4EB4448-BD59-BC43-9A33-0563077BEF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8474" y="6310312"/>
            <a:ext cx="2743200" cy="365125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6B2801F-AB2E-47A4-A198-B654C0E81C2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792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" name="think-cell Slide" r:id="rId4" imgW="424" imgH="424" progId="TCLayout.ActiveDocument.1">
                  <p:embed/>
                </p:oleObj>
              </mc:Choice>
              <mc:Fallback>
                <p:oleObj name="think-cell Slide" r:id="rId4" imgW="424" imgH="4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 bwMode="gray">
          <a:xfrm>
            <a:off x="460375" y="1325564"/>
            <a:ext cx="11272838" cy="4660899"/>
          </a:xfrm>
        </p:spPr>
        <p:txBody>
          <a:bodyPr/>
          <a:lstStyle>
            <a:lvl1pPr marL="231775" indent="-231775">
              <a:defRPr sz="1400"/>
            </a:lvl1pPr>
            <a:lvl2pPr marL="463550" indent="-227013">
              <a:defRPr sz="1400"/>
            </a:lvl2pPr>
            <a:lvl3pPr marL="682625" indent="-214313">
              <a:defRPr sz="1400"/>
            </a:lvl3pPr>
            <a:lvl4pPr marL="914400" indent="-215900">
              <a:defRPr sz="1400"/>
            </a:lvl4pPr>
            <a:lvl5pPr marL="1146175" indent="-227013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0375" y="228600"/>
            <a:ext cx="11272838" cy="4247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150188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457200" y="1343025"/>
            <a:ext cx="11276013" cy="4645023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2625" indent="-225425"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>
              <a:buSzPct val="100000"/>
              <a:buFont typeface="Arial" panose="020B0604020202020204" pitchFamily="34" charset="0"/>
              <a:buChar char="–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6175" indent="-231775">
              <a:buFont typeface="Wingdings" panose="05000000000000000000" pitchFamily="2" charset="2"/>
              <a:buChar char="§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/>
              <a:t>Click to edit Master text styles</a:t>
            </a:r>
          </a:p>
          <a:p>
            <a:pPr marL="2286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/>
              <a:t>Second level</a:t>
            </a:r>
          </a:p>
          <a:p>
            <a:pPr marL="228600" marR="0" lvl="2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/>
              <a:t>Third level</a:t>
            </a:r>
          </a:p>
          <a:p>
            <a:pPr marL="228600" marR="0" lvl="3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/>
              <a:t>Fourth level</a:t>
            </a:r>
          </a:p>
          <a:p>
            <a:pPr marL="228600" marR="0" lvl="4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270235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457200" y="1343025"/>
            <a:ext cx="11276013" cy="4645023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2625" indent="-225425"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>
              <a:buSzPct val="100000"/>
              <a:buFont typeface="Arial" panose="020B0604020202020204" pitchFamily="34" charset="0"/>
              <a:buChar char="–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6175" indent="-231775">
              <a:buFont typeface="Wingdings" panose="05000000000000000000" pitchFamily="2" charset="2"/>
              <a:buChar char="§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/>
              <a:t>Click to edit Master text styles</a:t>
            </a:r>
          </a:p>
          <a:p>
            <a:pPr marL="2286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/>
              <a:t>Second level</a:t>
            </a:r>
          </a:p>
          <a:p>
            <a:pPr marL="228600" marR="0" lvl="2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/>
              <a:t>Third level</a:t>
            </a:r>
          </a:p>
          <a:p>
            <a:pPr marL="228600" marR="0" lvl="3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/>
              <a:t>Fourth level</a:t>
            </a:r>
          </a:p>
          <a:p>
            <a:pPr marL="228600" marR="0" lvl="4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663416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457200" y="1343025"/>
            <a:ext cx="11276013" cy="4645023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2625" indent="-225425"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>
              <a:buSzPct val="100000"/>
              <a:buFont typeface="Arial" panose="020B0604020202020204" pitchFamily="34" charset="0"/>
              <a:buChar char="–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6175" indent="-231775">
              <a:buFont typeface="Wingdings" panose="05000000000000000000" pitchFamily="2" charset="2"/>
              <a:buChar char="§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/>
              <a:t>Click to edit Master text styles</a:t>
            </a:r>
          </a:p>
          <a:p>
            <a:pPr marL="2286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/>
              <a:t>Second level</a:t>
            </a:r>
          </a:p>
          <a:p>
            <a:pPr marL="228600" marR="0" lvl="2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/>
              <a:t>Third level</a:t>
            </a:r>
          </a:p>
          <a:p>
            <a:pPr marL="228600" marR="0" lvl="3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/>
              <a:t>Fourth level</a:t>
            </a:r>
          </a:p>
          <a:p>
            <a:pPr marL="228600" marR="0" lvl="4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617134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3D55F9-11A3-4523-8F38-6BA37933791A}" type="datetime1">
              <a:rPr lang="en-US" smtClean="0"/>
              <a:t>5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71338-8BA2-4C79-A6C5-5A8E30081D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34223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9D56B-6EBE-4E5F-99D9-2A3DBDF37D0A}" type="datetime1">
              <a:rPr lang="en-US" smtClean="0"/>
              <a:t>5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71338-8BA2-4C79-A6C5-5A8E30081D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4604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33F3CA-C7E3-432D-9282-18F13836509A}" type="datetime1">
              <a:rPr lang="en-US" smtClean="0"/>
              <a:t>5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71338-8BA2-4C79-A6C5-5A8E30081D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862484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BE9C62-1337-40B8-BA50-E9F4861DB4BC}" type="datetime1">
              <a:rPr lang="en-US" smtClean="0"/>
              <a:t>5/2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71338-8BA2-4C79-A6C5-5A8E30081D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99271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C195EB-2DA3-4B24-8725-19BC22A7BE50}" type="datetime1">
              <a:rPr lang="en-US" smtClean="0"/>
              <a:t>5/26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71338-8BA2-4C79-A6C5-5A8E30081D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5109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noFill/>
        </p:spPr>
        <p:txBody>
          <a:bodyPr vert="horz" lIns="91440" tIns="45720" rIns="91440" bIns="45720" rtlCol="0" anchor="b">
            <a:noAutofit/>
          </a:bodyPr>
          <a:lstStyle>
            <a:lvl1pPr>
              <a:defRPr lang="en-US" sz="6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96F561-2785-AF40-81CF-73B281EAF88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5/26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057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E237E6-0076-4915-A5A8-B7C11FA4F374}" type="datetime1">
              <a:rPr lang="en-US" smtClean="0"/>
              <a:t>5/26/2022</a:t>
            </a:fld>
            <a:endParaRPr lang="en-US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71338-8BA2-4C79-A6C5-5A8E30081D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398326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05F58F-C0B5-422A-8E5A-6B99E5D80F0A}" type="datetime1">
              <a:rPr lang="en-US" smtClean="0"/>
              <a:t>5/26/2022</a:t>
            </a:fld>
            <a:endParaRPr 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71338-8BA2-4C79-A6C5-5A8E30081D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53798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3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3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65E655-9687-48DF-A33F-F8824CCCB5D1}" type="datetime1">
              <a:rPr lang="en-US" smtClean="0"/>
              <a:t>5/26/2022</a:t>
            </a:fld>
            <a:endParaRPr lang="en-US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71338-8BA2-4C79-A6C5-5A8E30081D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690262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7FD56A-AAB8-4544-A495-D0645413C9E3}" type="datetime1">
              <a:rPr lang="en-US" smtClean="0"/>
              <a:t>5/2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71338-8BA2-4C79-A6C5-5A8E30081D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991482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3BAB95-8DA7-460B-B00A-7037C8394FB0}" type="datetime1">
              <a:rPr lang="en-US" smtClean="0"/>
              <a:pPr/>
              <a:t>5/2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71338-8BA2-4C79-A6C5-5A8E30081D0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2416174"/>
      </p:ext>
    </p:extLst>
  </p:cSld>
  <p:clrMapOvr>
    <a:masterClrMapping/>
  </p:clrMapOvr>
  <p:hf sldNum="0"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3BAB95-8DA7-460B-B00A-7037C8394FB0}" type="datetime1">
              <a:rPr lang="en-US" smtClean="0"/>
              <a:pPr/>
              <a:t>5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71338-8BA2-4C79-A6C5-5A8E30081D0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335008"/>
      </p:ext>
    </p:extLst>
  </p:cSld>
  <p:clrMapOvr>
    <a:masterClrMapping/>
  </p:clrMapOvr>
  <p:hf sldNum="0"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/>
          </p:nvPr>
        </p:nvSpPr>
        <p:spPr>
          <a:xfrm>
            <a:off x="1930400" y="3771174"/>
            <a:ext cx="7279649" cy="342174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3BAB95-8DA7-460B-B00A-7037C8394FB0}" type="datetime1">
              <a:rPr lang="en-US" smtClean="0"/>
              <a:pPr/>
              <a:t>5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71338-8BA2-4C79-A6C5-5A8E30081D0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82994446"/>
      </p:ext>
    </p:extLst>
  </p:cSld>
  <p:clrMapOvr>
    <a:masterClrMapping/>
  </p:clrMapOvr>
  <p:hf sldNum="0"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3BAB95-8DA7-460B-B00A-7037C8394FB0}" type="datetime1">
              <a:rPr lang="en-US" smtClean="0"/>
              <a:pPr/>
              <a:t>5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71338-8BA2-4C79-A6C5-5A8E30081D0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314498"/>
      </p:ext>
    </p:extLst>
  </p:cSld>
  <p:clrMapOvr>
    <a:masterClrMapping/>
  </p:clrMapOvr>
  <p:hf sldNum="0"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3BAB95-8DA7-460B-B00A-7037C8394FB0}" type="datetime1">
              <a:rPr lang="en-US" smtClean="0"/>
              <a:pPr/>
              <a:t>5/26/2022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71338-8BA2-4C79-A6C5-5A8E30081D0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7762528"/>
      </p:ext>
    </p:extLst>
  </p:cSld>
  <p:clrMapOvr>
    <a:masterClrMapping/>
  </p:clrMapOvr>
  <p:hf sldNum="0"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3BAB95-8DA7-460B-B00A-7037C8394FB0}" type="datetime1">
              <a:rPr lang="en-US" smtClean="0"/>
              <a:pPr/>
              <a:t>5/26/2022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71338-8BA2-4C79-A6C5-5A8E30081D0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473526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9F176E-120B-6444-8035-D5AC43AC10F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5/26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0095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4E757A-3EC2-4683-9080-1A460C37C843}" type="datetime1">
              <a:rPr lang="en-US" smtClean="0"/>
              <a:t>5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71338-8BA2-4C79-A6C5-5A8E30081D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01136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8096C-64ED-4153-A483-5C02E44AD5C3}" type="datetime1">
              <a:rPr lang="en-US" smtClean="0"/>
              <a:t>5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71338-8BA2-4C79-A6C5-5A8E30081D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08316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65125"/>
            <a:ext cx="12192000" cy="512699"/>
          </a:xfrm>
          <a:solidFill>
            <a:schemeClr val="accent3"/>
          </a:solidFill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26663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090547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26663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090547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B2501-AB7F-BD4B-89F6-1E4E6C3250A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5/26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9633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05106E-E64C-A44C-AA13-A76A1091AAD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5/26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061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E0EBD7-02AA-3D41-BC8E-3DE95B40F67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5/26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7107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10880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4EB4448-BD59-BC43-9A33-0563077BEF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8474" y="6310312"/>
            <a:ext cx="2743200" cy="365125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6B2801F-AB2E-47A4-A198-B654C0E81C2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0657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1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3.emf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Relationship Id="rId22" Type="http://schemas.openxmlformats.org/officeDocument/2006/relationships/image" Target="../media/image2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21" Type="http://schemas.openxmlformats.org/officeDocument/2006/relationships/image" Target="../media/image7.png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image" Target="../media/image6.png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34.xml"/><Relationship Id="rId19" Type="http://schemas.openxmlformats.org/officeDocument/2006/relationships/image" Target="../media/image5.png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image" Target="../media/image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365125"/>
            <a:ext cx="12192000" cy="463931"/>
          </a:xfrm>
          <a:prstGeom prst="rect">
            <a:avLst/>
          </a:prstGeom>
          <a:solidFill>
            <a:schemeClr val="accent3"/>
          </a:solidFill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4256" y="1343905"/>
            <a:ext cx="11143488" cy="44975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1F3489-5551-254B-850B-3D243E596C6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5/26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B2801F-AB2E-47A4-A198-B654C0E81C2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 descr="background-element.eps">
            <a:extLst>
              <a:ext uri="{FF2B5EF4-FFF2-40B4-BE49-F238E27FC236}">
                <a16:creationId xmlns:a16="http://schemas.microsoft.com/office/drawing/2014/main" id="{258156BD-9613-854C-94E2-820201FB9E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577" b="44270"/>
          <a:stretch/>
        </p:blipFill>
        <p:spPr>
          <a:xfrm>
            <a:off x="0" y="5841501"/>
            <a:ext cx="12192000" cy="1005840"/>
          </a:xfrm>
          <a:prstGeom prst="rect">
            <a:avLst/>
          </a:prstGeom>
        </p:spPr>
      </p:pic>
      <p:pic>
        <p:nvPicPr>
          <p:cNvPr id="8" name="Picture 7" descr="UWSystem-LogoWhite-hz.eps">
            <a:extLst>
              <a:ext uri="{FF2B5EF4-FFF2-40B4-BE49-F238E27FC236}">
                <a16:creationId xmlns:a16="http://schemas.microsoft.com/office/drawing/2014/main" id="{1BB1FC95-02BA-F049-9C6F-55B8F0AB89EC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6248960"/>
            <a:ext cx="2935539" cy="533734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80890F2-209C-AF4E-BD9C-12878012545A}"/>
              </a:ext>
            </a:extLst>
          </p:cNvPr>
          <p:cNvSpPr txBox="1">
            <a:spLocks/>
          </p:cNvSpPr>
          <p:nvPr userDrawn="1"/>
        </p:nvSpPr>
        <p:spPr>
          <a:xfrm>
            <a:off x="9226293" y="6412108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6B2801F-AB2E-47A4-A198-B654C0E81C22}" type="slidenum">
              <a:rPr lang="en-US" sz="1400" smtClean="0"/>
              <a:pPr algn="r"/>
              <a:t>‹#›</a:t>
            </a:fld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2228377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714" r:id="rId8"/>
    <p:sldLayoutId id="2147483700" r:id="rId9"/>
    <p:sldLayoutId id="2147483696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358B9A3-4D72-4F56-ADD2-04B2E25C43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19" imgW="424" imgH="424" progId="TCLayout.ActiveDocument.1">
                  <p:embed/>
                </p:oleObj>
              </mc:Choice>
              <mc:Fallback>
                <p:oleObj name="think-cell Slide" r:id="rId19" imgW="424" imgH="42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358B9A3-4D72-4F56-ADD2-04B2E25C43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B7614E75-C6CF-4E59-AA6C-C1A8B3B83231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365125"/>
            <a:ext cx="12192000" cy="463931"/>
          </a:xfrm>
          <a:prstGeom prst="rect">
            <a:avLst/>
          </a:prstGeom>
          <a:solidFill>
            <a:schemeClr val="accent3"/>
          </a:solidFill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4256" y="1343905"/>
            <a:ext cx="11143488" cy="44975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1F3489-5551-254B-850B-3D243E596C6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5/26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B2801F-AB2E-47A4-A198-B654C0E81C2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 descr="background-element.eps">
            <a:extLst>
              <a:ext uri="{FF2B5EF4-FFF2-40B4-BE49-F238E27FC236}">
                <a16:creationId xmlns:a16="http://schemas.microsoft.com/office/drawing/2014/main" id="{258156BD-9613-854C-94E2-820201FB9E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577" b="44270"/>
          <a:stretch/>
        </p:blipFill>
        <p:spPr>
          <a:xfrm>
            <a:off x="0" y="5841501"/>
            <a:ext cx="12192000" cy="1005840"/>
          </a:xfrm>
          <a:prstGeom prst="rect">
            <a:avLst/>
          </a:prstGeom>
        </p:spPr>
      </p:pic>
      <p:pic>
        <p:nvPicPr>
          <p:cNvPr id="8" name="Picture 7" descr="UWSystem-LogoWhite-hz.eps">
            <a:extLst>
              <a:ext uri="{FF2B5EF4-FFF2-40B4-BE49-F238E27FC236}">
                <a16:creationId xmlns:a16="http://schemas.microsoft.com/office/drawing/2014/main" id="{1BB1FC95-02BA-F049-9C6F-55B8F0AB89EC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6248960"/>
            <a:ext cx="2935539" cy="533734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80890F2-209C-AF4E-BD9C-12878012545A}"/>
              </a:ext>
            </a:extLst>
          </p:cNvPr>
          <p:cNvSpPr txBox="1">
            <a:spLocks/>
          </p:cNvSpPr>
          <p:nvPr userDrawn="1"/>
        </p:nvSpPr>
        <p:spPr>
          <a:xfrm>
            <a:off x="9226293" y="6412108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6B2801F-AB2E-47A4-A198-B654C0E81C22}" type="slidenum">
              <a:rPr lang="en-US" sz="1400" smtClean="0"/>
              <a:pPr algn="r"/>
              <a:t>‹#›</a:t>
            </a:fld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482712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70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193BAB95-8DA7-460B-B00A-7037C8394FB0}" type="datetime1">
              <a:rPr lang="en-US" smtClean="0"/>
              <a:pPr/>
              <a:t>5/2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r>
              <a:rPr lang="en-US"/>
              <a:t>Sample Footer Text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A71338-8BA2-4C79-A6C5-5A8E30081D0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40909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  <p:sldLayoutId id="2147483766" r:id="rId14"/>
    <p:sldLayoutId id="2147483767" r:id="rId15"/>
    <p:sldLayoutId id="2147483768" r:id="rId16"/>
    <p:sldLayoutId id="2147483769" r:id="rId17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06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36.jpe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4.png"/><Relationship Id="rId3" Type="http://schemas.openxmlformats.org/officeDocument/2006/relationships/tags" Target="../tags/tag5.xml"/><Relationship Id="rId7" Type="http://schemas.openxmlformats.org/officeDocument/2006/relationships/image" Target="../media/image9.emf"/><Relationship Id="rId12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13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2.svg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11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7.xml"/><Relationship Id="rId7" Type="http://schemas.openxmlformats.org/officeDocument/2006/relationships/image" Target="../media/image9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14.png"/><Relationship Id="rId5" Type="http://schemas.openxmlformats.org/officeDocument/2006/relationships/notesSlide" Target="../notesSlides/notesSlide3.xml"/><Relationship Id="rId10" Type="http://schemas.microsoft.com/office/2007/relationships/hdphoto" Target="../media/hdphoto1.wdp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23.jpe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319399-A769-7640-8810-D7D7FAE27F5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4000"/>
              <a:t>IT as a Service (</a:t>
            </a:r>
            <a:r>
              <a:rPr lang="en-US" sz="4000" err="1"/>
              <a:t>ITaaS</a:t>
            </a:r>
            <a:r>
              <a:rPr lang="en-US" sz="4000"/>
              <a:t>)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5A0F1AB-4AD7-E04E-B853-3BDAEA60BC0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endParaRPr lang="en-US"/>
          </a:p>
          <a:p>
            <a:r>
              <a:rPr lang="en-US"/>
              <a:t>Network Meeting – May 2022</a:t>
            </a:r>
            <a:endParaRPr lang="en-US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07323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7">
            <a:extLst>
              <a:ext uri="{FF2B5EF4-FFF2-40B4-BE49-F238E27FC236}">
                <a16:creationId xmlns:a16="http://schemas.microsoft.com/office/drawing/2014/main" id="{74CD14DB-BB81-479F-A1FC-1C75640E9F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8" name="Rectangle 9">
            <a:extLst>
              <a:ext uri="{FF2B5EF4-FFF2-40B4-BE49-F238E27FC236}">
                <a16:creationId xmlns:a16="http://schemas.microsoft.com/office/drawing/2014/main" id="{C943A91B-7CA7-4592-A975-73B1BF8C4C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9" name="Freeform 7">
            <a:extLst>
              <a:ext uri="{FF2B5EF4-FFF2-40B4-BE49-F238E27FC236}">
                <a16:creationId xmlns:a16="http://schemas.microsoft.com/office/drawing/2014/main" id="{EC471314-E46A-414B-8D91-74880E84F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719939" y="1460230"/>
            <a:ext cx="3472060" cy="825932"/>
          </a:xfrm>
          <a:custGeom>
            <a:avLst/>
            <a:gdLst>
              <a:gd name="connsiteX0" fmla="*/ 3470310 w 3472060"/>
              <a:gd name="connsiteY0" fmla="*/ 0 h 825932"/>
              <a:gd name="connsiteX1" fmla="*/ 3472060 w 3472060"/>
              <a:gd name="connsiteY1" fmla="*/ 12850 h 825932"/>
              <a:gd name="connsiteX2" fmla="*/ 3472060 w 3472060"/>
              <a:gd name="connsiteY2" fmla="*/ 480529 h 825932"/>
              <a:gd name="connsiteX3" fmla="*/ 3363699 w 3472060"/>
              <a:gd name="connsiteY3" fmla="*/ 498471 h 825932"/>
              <a:gd name="connsiteX4" fmla="*/ 42060 w 3472060"/>
              <a:gd name="connsiteY4" fmla="*/ 824486 h 825932"/>
              <a:gd name="connsiteX5" fmla="*/ 0 w 3472060"/>
              <a:gd name="connsiteY5" fmla="*/ 758452 h 825932"/>
              <a:gd name="connsiteX6" fmla="*/ 188014 w 3472060"/>
              <a:gd name="connsiteY6" fmla="*/ 735602 h 825932"/>
              <a:gd name="connsiteX7" fmla="*/ 284087 w 3472060"/>
              <a:gd name="connsiteY7" fmla="*/ 722590 h 825932"/>
              <a:gd name="connsiteX8" fmla="*/ 382288 w 3472060"/>
              <a:gd name="connsiteY8" fmla="*/ 709392 h 825932"/>
              <a:gd name="connsiteX9" fmla="*/ 481858 w 3472060"/>
              <a:gd name="connsiteY9" fmla="*/ 695774 h 825932"/>
              <a:gd name="connsiteX10" fmla="*/ 581897 w 3472060"/>
              <a:gd name="connsiteY10" fmla="*/ 680711 h 825932"/>
              <a:gd name="connsiteX11" fmla="*/ 683670 w 3472060"/>
              <a:gd name="connsiteY11" fmla="*/ 665256 h 825932"/>
              <a:gd name="connsiteX12" fmla="*/ 787206 w 3472060"/>
              <a:gd name="connsiteY12" fmla="*/ 649587 h 825932"/>
              <a:gd name="connsiteX13" fmla="*/ 892019 w 3472060"/>
              <a:gd name="connsiteY13" fmla="*/ 632968 h 825932"/>
              <a:gd name="connsiteX14" fmla="*/ 997620 w 3472060"/>
              <a:gd name="connsiteY14" fmla="*/ 614667 h 825932"/>
              <a:gd name="connsiteX15" fmla="*/ 1104727 w 3472060"/>
              <a:gd name="connsiteY15" fmla="*/ 596741 h 825932"/>
              <a:gd name="connsiteX16" fmla="*/ 1212669 w 3472060"/>
              <a:gd name="connsiteY16" fmla="*/ 577397 h 825932"/>
              <a:gd name="connsiteX17" fmla="*/ 1321506 w 3472060"/>
              <a:gd name="connsiteY17" fmla="*/ 556988 h 825932"/>
              <a:gd name="connsiteX18" fmla="*/ 1430709 w 3472060"/>
              <a:gd name="connsiteY18" fmla="*/ 536607 h 825932"/>
              <a:gd name="connsiteX19" fmla="*/ 1541050 w 3472060"/>
              <a:gd name="connsiteY19" fmla="*/ 514481 h 825932"/>
              <a:gd name="connsiteX20" fmla="*/ 1652805 w 3472060"/>
              <a:gd name="connsiteY20" fmla="*/ 492202 h 825932"/>
              <a:gd name="connsiteX21" fmla="*/ 1763708 w 3472060"/>
              <a:gd name="connsiteY21" fmla="*/ 469161 h 825932"/>
              <a:gd name="connsiteX22" fmla="*/ 1875795 w 3472060"/>
              <a:gd name="connsiteY22" fmla="*/ 444641 h 825932"/>
              <a:gd name="connsiteX23" fmla="*/ 1989128 w 3472060"/>
              <a:gd name="connsiteY23" fmla="*/ 418995 h 825932"/>
              <a:gd name="connsiteX24" fmla="*/ 2102476 w 3472060"/>
              <a:gd name="connsiteY24" fmla="*/ 393438 h 825932"/>
              <a:gd name="connsiteX25" fmla="*/ 2215549 w 3472060"/>
              <a:gd name="connsiteY25" fmla="*/ 366291 h 825932"/>
              <a:gd name="connsiteX26" fmla="*/ 2330490 w 3472060"/>
              <a:gd name="connsiteY26" fmla="*/ 337455 h 825932"/>
              <a:gd name="connsiteX27" fmla="*/ 2443333 w 3472060"/>
              <a:gd name="connsiteY27" fmla="*/ 308983 h 825932"/>
              <a:gd name="connsiteX28" fmla="*/ 2558014 w 3472060"/>
              <a:gd name="connsiteY28" fmla="*/ 278646 h 825932"/>
              <a:gd name="connsiteX29" fmla="*/ 2673621 w 3472060"/>
              <a:gd name="connsiteY29" fmla="*/ 247421 h 825932"/>
              <a:gd name="connsiteX30" fmla="*/ 2787008 w 3472060"/>
              <a:gd name="connsiteY30" fmla="*/ 215853 h 825932"/>
              <a:gd name="connsiteX31" fmla="*/ 2901442 w 3472060"/>
              <a:gd name="connsiteY31" fmla="*/ 182011 h 825932"/>
              <a:gd name="connsiteX32" fmla="*/ 3015722 w 3472060"/>
              <a:gd name="connsiteY32" fmla="*/ 147286 h 825932"/>
              <a:gd name="connsiteX33" fmla="*/ 3130018 w 3472060"/>
              <a:gd name="connsiteY33" fmla="*/ 112649 h 825932"/>
              <a:gd name="connsiteX34" fmla="*/ 3243551 w 3472060"/>
              <a:gd name="connsiteY34" fmla="*/ 75688 h 825932"/>
              <a:gd name="connsiteX35" fmla="*/ 3356992 w 3472060"/>
              <a:gd name="connsiteY35" fmla="*/ 38197 h 825932"/>
              <a:gd name="connsiteX36" fmla="*/ 3470310 w 3472060"/>
              <a:gd name="connsiteY36" fmla="*/ 0 h 825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472060" h="825932">
                <a:moveTo>
                  <a:pt x="3470310" y="0"/>
                </a:moveTo>
                <a:lnTo>
                  <a:pt x="3472060" y="12850"/>
                </a:lnTo>
                <a:lnTo>
                  <a:pt x="3472060" y="480529"/>
                </a:lnTo>
                <a:lnTo>
                  <a:pt x="3363699" y="498471"/>
                </a:lnTo>
                <a:cubicBezTo>
                  <a:pt x="2435623" y="645518"/>
                  <a:pt x="603076" y="844866"/>
                  <a:pt x="42060" y="824486"/>
                </a:cubicBezTo>
                <a:cubicBezTo>
                  <a:pt x="28151" y="802425"/>
                  <a:pt x="13909" y="780513"/>
                  <a:pt x="0" y="758452"/>
                </a:cubicBezTo>
                <a:lnTo>
                  <a:pt x="188014" y="735602"/>
                </a:lnTo>
                <a:lnTo>
                  <a:pt x="284087" y="722590"/>
                </a:lnTo>
                <a:lnTo>
                  <a:pt x="382288" y="709392"/>
                </a:lnTo>
                <a:lnTo>
                  <a:pt x="481858" y="695774"/>
                </a:lnTo>
                <a:lnTo>
                  <a:pt x="581897" y="680711"/>
                </a:lnTo>
                <a:lnTo>
                  <a:pt x="683670" y="665256"/>
                </a:lnTo>
                <a:lnTo>
                  <a:pt x="787206" y="649587"/>
                </a:lnTo>
                <a:lnTo>
                  <a:pt x="892019" y="632968"/>
                </a:lnTo>
                <a:lnTo>
                  <a:pt x="997620" y="614667"/>
                </a:lnTo>
                <a:lnTo>
                  <a:pt x="1104727" y="596741"/>
                </a:lnTo>
                <a:lnTo>
                  <a:pt x="1212669" y="577397"/>
                </a:lnTo>
                <a:lnTo>
                  <a:pt x="1321506" y="556988"/>
                </a:lnTo>
                <a:lnTo>
                  <a:pt x="1430709" y="536607"/>
                </a:lnTo>
                <a:lnTo>
                  <a:pt x="1541050" y="514481"/>
                </a:lnTo>
                <a:lnTo>
                  <a:pt x="1652805" y="492202"/>
                </a:lnTo>
                <a:lnTo>
                  <a:pt x="1763708" y="469161"/>
                </a:lnTo>
                <a:lnTo>
                  <a:pt x="1875795" y="444641"/>
                </a:lnTo>
                <a:lnTo>
                  <a:pt x="1989128" y="418995"/>
                </a:lnTo>
                <a:lnTo>
                  <a:pt x="2102476" y="393438"/>
                </a:lnTo>
                <a:lnTo>
                  <a:pt x="2215549" y="366291"/>
                </a:lnTo>
                <a:lnTo>
                  <a:pt x="2330490" y="337455"/>
                </a:lnTo>
                <a:lnTo>
                  <a:pt x="2443333" y="308983"/>
                </a:lnTo>
                <a:lnTo>
                  <a:pt x="2558014" y="278646"/>
                </a:lnTo>
                <a:lnTo>
                  <a:pt x="2673621" y="247421"/>
                </a:lnTo>
                <a:lnTo>
                  <a:pt x="2787008" y="215853"/>
                </a:lnTo>
                <a:lnTo>
                  <a:pt x="2901442" y="182011"/>
                </a:lnTo>
                <a:lnTo>
                  <a:pt x="3015722" y="147286"/>
                </a:lnTo>
                <a:lnTo>
                  <a:pt x="3130018" y="112649"/>
                </a:lnTo>
                <a:lnTo>
                  <a:pt x="3243551" y="75688"/>
                </a:lnTo>
                <a:lnTo>
                  <a:pt x="3356992" y="38197"/>
                </a:lnTo>
                <a:lnTo>
                  <a:pt x="347031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 useBgFill="1">
        <p:nvSpPr>
          <p:cNvPr id="20" name="Freeform: Shape 13">
            <a:extLst>
              <a:ext uri="{FF2B5EF4-FFF2-40B4-BE49-F238E27FC236}">
                <a16:creationId xmlns:a16="http://schemas.microsoft.com/office/drawing/2014/main" id="{6A681326-1C9D-44A3-A627-3871BDAE41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1" y="1762067"/>
            <a:ext cx="12192417" cy="5095933"/>
          </a:xfrm>
          <a:custGeom>
            <a:avLst/>
            <a:gdLst>
              <a:gd name="connsiteX0" fmla="*/ 0 w 12192417"/>
              <a:gd name="connsiteY0" fmla="*/ 0 h 5095933"/>
              <a:gd name="connsiteX1" fmla="*/ 71931 w 12192417"/>
              <a:gd name="connsiteY1" fmla="*/ 12261 h 5095933"/>
              <a:gd name="connsiteX2" fmla="*/ 282848 w 12192417"/>
              <a:gd name="connsiteY2" fmla="*/ 48343 h 5095933"/>
              <a:gd name="connsiteX3" fmla="*/ 436463 w 12192417"/>
              <a:gd name="connsiteY3" fmla="*/ 73565 h 5095933"/>
              <a:gd name="connsiteX4" fmla="*/ 619338 w 12192417"/>
              <a:gd name="connsiteY4" fmla="*/ 100188 h 5095933"/>
              <a:gd name="connsiteX5" fmla="*/ 836350 w 12192417"/>
              <a:gd name="connsiteY5" fmla="*/ 132066 h 5095933"/>
              <a:gd name="connsiteX6" fmla="*/ 1076527 w 12192417"/>
              <a:gd name="connsiteY6" fmla="*/ 165696 h 5095933"/>
              <a:gd name="connsiteX7" fmla="*/ 1347183 w 12192417"/>
              <a:gd name="connsiteY7" fmla="*/ 201077 h 5095933"/>
              <a:gd name="connsiteX8" fmla="*/ 1642222 w 12192417"/>
              <a:gd name="connsiteY8" fmla="*/ 238560 h 5095933"/>
              <a:gd name="connsiteX9" fmla="*/ 1962863 w 12192417"/>
              <a:gd name="connsiteY9" fmla="*/ 276043 h 5095933"/>
              <a:gd name="connsiteX10" fmla="*/ 2304231 w 12192417"/>
              <a:gd name="connsiteY10" fmla="*/ 314227 h 5095933"/>
              <a:gd name="connsiteX11" fmla="*/ 2672420 w 12192417"/>
              <a:gd name="connsiteY11" fmla="*/ 349608 h 5095933"/>
              <a:gd name="connsiteX12" fmla="*/ 3057677 w 12192417"/>
              <a:gd name="connsiteY12" fmla="*/ 383588 h 5095933"/>
              <a:gd name="connsiteX13" fmla="*/ 3464880 w 12192417"/>
              <a:gd name="connsiteY13" fmla="*/ 414415 h 5095933"/>
              <a:gd name="connsiteX14" fmla="*/ 3889151 w 12192417"/>
              <a:gd name="connsiteY14" fmla="*/ 443841 h 5095933"/>
              <a:gd name="connsiteX15" fmla="*/ 4331709 w 12192417"/>
              <a:gd name="connsiteY15" fmla="*/ 471515 h 5095933"/>
              <a:gd name="connsiteX16" fmla="*/ 4558475 w 12192417"/>
              <a:gd name="connsiteY16" fmla="*/ 481324 h 5095933"/>
              <a:gd name="connsiteX17" fmla="*/ 4790117 w 12192417"/>
              <a:gd name="connsiteY17" fmla="*/ 492183 h 5095933"/>
              <a:gd name="connsiteX18" fmla="*/ 5025417 w 12192417"/>
              <a:gd name="connsiteY18" fmla="*/ 502342 h 5095933"/>
              <a:gd name="connsiteX19" fmla="*/ 5261936 w 12192417"/>
              <a:gd name="connsiteY19" fmla="*/ 508998 h 5095933"/>
              <a:gd name="connsiteX20" fmla="*/ 5503331 w 12192417"/>
              <a:gd name="connsiteY20" fmla="*/ 514953 h 5095933"/>
              <a:gd name="connsiteX21" fmla="*/ 5747166 w 12192417"/>
              <a:gd name="connsiteY21" fmla="*/ 521259 h 5095933"/>
              <a:gd name="connsiteX22" fmla="*/ 5995876 w 12192417"/>
              <a:gd name="connsiteY22" fmla="*/ 525463 h 5095933"/>
              <a:gd name="connsiteX23" fmla="*/ 6247025 w 12192417"/>
              <a:gd name="connsiteY23" fmla="*/ 525463 h 5095933"/>
              <a:gd name="connsiteX24" fmla="*/ 6500612 w 12192417"/>
              <a:gd name="connsiteY24" fmla="*/ 527565 h 5095933"/>
              <a:gd name="connsiteX25" fmla="*/ 6756638 w 12192417"/>
              <a:gd name="connsiteY25" fmla="*/ 525463 h 5095933"/>
              <a:gd name="connsiteX26" fmla="*/ 7016321 w 12192417"/>
              <a:gd name="connsiteY26" fmla="*/ 521259 h 5095933"/>
              <a:gd name="connsiteX27" fmla="*/ 7276004 w 12192417"/>
              <a:gd name="connsiteY27" fmla="*/ 517406 h 5095933"/>
              <a:gd name="connsiteX28" fmla="*/ 7539344 w 12192417"/>
              <a:gd name="connsiteY28" fmla="*/ 508998 h 5095933"/>
              <a:gd name="connsiteX29" fmla="*/ 7805123 w 12192417"/>
              <a:gd name="connsiteY29" fmla="*/ 500241 h 5095933"/>
              <a:gd name="connsiteX30" fmla="*/ 8070902 w 12192417"/>
              <a:gd name="connsiteY30" fmla="*/ 490082 h 5095933"/>
              <a:gd name="connsiteX31" fmla="*/ 8339120 w 12192417"/>
              <a:gd name="connsiteY31" fmla="*/ 475719 h 5095933"/>
              <a:gd name="connsiteX32" fmla="*/ 8609775 w 12192417"/>
              <a:gd name="connsiteY32" fmla="*/ 458554 h 5095933"/>
              <a:gd name="connsiteX33" fmla="*/ 8881650 w 12192417"/>
              <a:gd name="connsiteY33" fmla="*/ 442089 h 5095933"/>
              <a:gd name="connsiteX34" fmla="*/ 9153525 w 12192417"/>
              <a:gd name="connsiteY34" fmla="*/ 421071 h 5095933"/>
              <a:gd name="connsiteX35" fmla="*/ 9429057 w 12192417"/>
              <a:gd name="connsiteY35" fmla="*/ 395849 h 5095933"/>
              <a:gd name="connsiteX36" fmla="*/ 9700932 w 12192417"/>
              <a:gd name="connsiteY36" fmla="*/ 370626 h 5095933"/>
              <a:gd name="connsiteX37" fmla="*/ 9977683 w 12192417"/>
              <a:gd name="connsiteY37" fmla="*/ 341551 h 5095933"/>
              <a:gd name="connsiteX38" fmla="*/ 10255654 w 12192417"/>
              <a:gd name="connsiteY38" fmla="*/ 309673 h 5095933"/>
              <a:gd name="connsiteX39" fmla="*/ 10529967 w 12192417"/>
              <a:gd name="connsiteY39" fmla="*/ 276043 h 5095933"/>
              <a:gd name="connsiteX40" fmla="*/ 10807938 w 12192417"/>
              <a:gd name="connsiteY40" fmla="*/ 236809 h 5095933"/>
              <a:gd name="connsiteX41" fmla="*/ 11084689 w 12192417"/>
              <a:gd name="connsiteY41" fmla="*/ 194772 h 5095933"/>
              <a:gd name="connsiteX42" fmla="*/ 11362660 w 12192417"/>
              <a:gd name="connsiteY42" fmla="*/ 153085 h 5095933"/>
              <a:gd name="connsiteX43" fmla="*/ 11639411 w 12192417"/>
              <a:gd name="connsiteY43" fmla="*/ 104392 h 5095933"/>
              <a:gd name="connsiteX44" fmla="*/ 11914944 w 12192417"/>
              <a:gd name="connsiteY44" fmla="*/ 54648 h 5095933"/>
              <a:gd name="connsiteX45" fmla="*/ 12191695 w 12192417"/>
              <a:gd name="connsiteY45" fmla="*/ 2452 h 5095933"/>
              <a:gd name="connsiteX46" fmla="*/ 12191695 w 12192417"/>
              <a:gd name="connsiteY46" fmla="*/ 2162231 h 5095933"/>
              <a:gd name="connsiteX47" fmla="*/ 12192417 w 12192417"/>
              <a:gd name="connsiteY47" fmla="*/ 2162231 h 5095933"/>
              <a:gd name="connsiteX48" fmla="*/ 12192417 w 12192417"/>
              <a:gd name="connsiteY48" fmla="*/ 5095933 h 5095933"/>
              <a:gd name="connsiteX49" fmla="*/ 0 w 12192417"/>
              <a:gd name="connsiteY49" fmla="*/ 5095933 h 5095933"/>
              <a:gd name="connsiteX50" fmla="*/ 0 w 12192417"/>
              <a:gd name="connsiteY50" fmla="*/ 2791958 h 5095933"/>
              <a:gd name="connsiteX51" fmla="*/ 0 w 12192417"/>
              <a:gd name="connsiteY51" fmla="*/ 2162231 h 509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2192417" h="5095933">
                <a:moveTo>
                  <a:pt x="0" y="0"/>
                </a:moveTo>
                <a:lnTo>
                  <a:pt x="71931" y="12261"/>
                </a:lnTo>
                <a:lnTo>
                  <a:pt x="282848" y="48343"/>
                </a:lnTo>
                <a:lnTo>
                  <a:pt x="436463" y="73565"/>
                </a:lnTo>
                <a:lnTo>
                  <a:pt x="619338" y="100188"/>
                </a:lnTo>
                <a:lnTo>
                  <a:pt x="836350" y="132066"/>
                </a:lnTo>
                <a:lnTo>
                  <a:pt x="1076527" y="165696"/>
                </a:lnTo>
                <a:lnTo>
                  <a:pt x="1347183" y="201077"/>
                </a:lnTo>
                <a:lnTo>
                  <a:pt x="1642222" y="238560"/>
                </a:lnTo>
                <a:lnTo>
                  <a:pt x="1962863" y="276043"/>
                </a:lnTo>
                <a:lnTo>
                  <a:pt x="2304231" y="314227"/>
                </a:lnTo>
                <a:lnTo>
                  <a:pt x="2672420" y="349608"/>
                </a:lnTo>
                <a:lnTo>
                  <a:pt x="3057677" y="383588"/>
                </a:lnTo>
                <a:lnTo>
                  <a:pt x="3464880" y="414415"/>
                </a:lnTo>
                <a:lnTo>
                  <a:pt x="3889151" y="443841"/>
                </a:lnTo>
                <a:lnTo>
                  <a:pt x="4331709" y="471515"/>
                </a:lnTo>
                <a:lnTo>
                  <a:pt x="4558475" y="481324"/>
                </a:lnTo>
                <a:lnTo>
                  <a:pt x="4790117" y="492183"/>
                </a:lnTo>
                <a:lnTo>
                  <a:pt x="5025417" y="502342"/>
                </a:lnTo>
                <a:lnTo>
                  <a:pt x="5261936" y="508998"/>
                </a:lnTo>
                <a:lnTo>
                  <a:pt x="5503331" y="514953"/>
                </a:lnTo>
                <a:lnTo>
                  <a:pt x="5747166" y="521259"/>
                </a:lnTo>
                <a:lnTo>
                  <a:pt x="5995876" y="525463"/>
                </a:lnTo>
                <a:lnTo>
                  <a:pt x="6247025" y="525463"/>
                </a:lnTo>
                <a:lnTo>
                  <a:pt x="6500612" y="527565"/>
                </a:lnTo>
                <a:lnTo>
                  <a:pt x="6756638" y="525463"/>
                </a:lnTo>
                <a:lnTo>
                  <a:pt x="7016321" y="521259"/>
                </a:lnTo>
                <a:lnTo>
                  <a:pt x="7276004" y="517406"/>
                </a:lnTo>
                <a:lnTo>
                  <a:pt x="7539344" y="508998"/>
                </a:lnTo>
                <a:lnTo>
                  <a:pt x="7805123" y="500241"/>
                </a:lnTo>
                <a:lnTo>
                  <a:pt x="8070902" y="490082"/>
                </a:lnTo>
                <a:lnTo>
                  <a:pt x="8339120" y="475719"/>
                </a:lnTo>
                <a:lnTo>
                  <a:pt x="8609775" y="458554"/>
                </a:lnTo>
                <a:lnTo>
                  <a:pt x="8881650" y="442089"/>
                </a:lnTo>
                <a:lnTo>
                  <a:pt x="9153525" y="421071"/>
                </a:lnTo>
                <a:lnTo>
                  <a:pt x="9429057" y="395849"/>
                </a:lnTo>
                <a:lnTo>
                  <a:pt x="9700932" y="370626"/>
                </a:lnTo>
                <a:lnTo>
                  <a:pt x="9977683" y="341551"/>
                </a:lnTo>
                <a:lnTo>
                  <a:pt x="10255654" y="309673"/>
                </a:lnTo>
                <a:lnTo>
                  <a:pt x="10529967" y="276043"/>
                </a:lnTo>
                <a:lnTo>
                  <a:pt x="10807938" y="236809"/>
                </a:lnTo>
                <a:lnTo>
                  <a:pt x="11084689" y="194772"/>
                </a:lnTo>
                <a:lnTo>
                  <a:pt x="11362660" y="153085"/>
                </a:lnTo>
                <a:lnTo>
                  <a:pt x="11639411" y="104392"/>
                </a:lnTo>
                <a:lnTo>
                  <a:pt x="11914944" y="54648"/>
                </a:lnTo>
                <a:lnTo>
                  <a:pt x="12191695" y="2452"/>
                </a:lnTo>
                <a:lnTo>
                  <a:pt x="12191695" y="2162231"/>
                </a:lnTo>
                <a:lnTo>
                  <a:pt x="12192417" y="2162231"/>
                </a:lnTo>
                <a:lnTo>
                  <a:pt x="12192417" y="5095933"/>
                </a:lnTo>
                <a:lnTo>
                  <a:pt x="0" y="5095933"/>
                </a:lnTo>
                <a:lnTo>
                  <a:pt x="0" y="2791958"/>
                </a:lnTo>
                <a:lnTo>
                  <a:pt x="0" y="2162231"/>
                </a:lnTo>
                <a:close/>
              </a:path>
            </a:pathLst>
          </a:custGeom>
          <a:ln>
            <a:noFill/>
          </a:ln>
        </p:spPr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52DEB6-587F-4410-838F-3EA0BE6739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3312" y="452718"/>
            <a:ext cx="8947522" cy="1400530"/>
          </a:xfrm>
        </p:spPr>
        <p:txBody>
          <a:bodyPr anchor="ctr">
            <a:normAutofit/>
          </a:bodyPr>
          <a:lstStyle/>
          <a:p>
            <a:r>
              <a:rPr lang="en-US">
                <a:solidFill>
                  <a:srgbClr val="FFFFFF"/>
                </a:solidFill>
              </a:rPr>
              <a:t>Toda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9D51ADC-F182-41F2-8691-70FC90138F41}"/>
              </a:ext>
            </a:extLst>
          </p:cNvPr>
          <p:cNvSpPr txBox="1"/>
          <p:nvPr/>
        </p:nvSpPr>
        <p:spPr>
          <a:xfrm>
            <a:off x="374552" y="2725179"/>
            <a:ext cx="1847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  <a:p>
            <a:endParaRPr lang="en-US"/>
          </a:p>
        </p:txBody>
      </p:sp>
      <p:graphicFrame>
        <p:nvGraphicFramePr>
          <p:cNvPr id="12" name="Content Placeholder 3">
            <a:extLst>
              <a:ext uri="{FF2B5EF4-FFF2-40B4-BE49-F238E27FC236}">
                <a16:creationId xmlns:a16="http://schemas.microsoft.com/office/drawing/2014/main" id="{1D0808B6-2E9F-3AFC-EA94-7CDD4DB0F18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31548832"/>
              </p:ext>
            </p:extLst>
          </p:nvPr>
        </p:nvGraphicFramePr>
        <p:xfrm>
          <a:off x="1015285" y="2514160"/>
          <a:ext cx="5928087" cy="40009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" name="Picture 430" descr="Worker typing on laptop">
            <a:extLst>
              <a:ext uri="{FF2B5EF4-FFF2-40B4-BE49-F238E27FC236}">
                <a16:creationId xmlns:a16="http://schemas.microsoft.com/office/drawing/2014/main" id="{50ECD1A8-0373-42CB-4118-0D9625D89E2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27962" y="2898646"/>
            <a:ext cx="3798275" cy="282894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7278799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74CD14DB-BB81-479F-A1FC-1C75640E9F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C943A91B-7CA7-4592-A975-73B1BF8C4C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EC471314-E46A-414B-8D91-74880E84F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719939" y="1460230"/>
            <a:ext cx="3472060" cy="825932"/>
          </a:xfrm>
          <a:custGeom>
            <a:avLst/>
            <a:gdLst>
              <a:gd name="connsiteX0" fmla="*/ 3470310 w 3472060"/>
              <a:gd name="connsiteY0" fmla="*/ 0 h 825932"/>
              <a:gd name="connsiteX1" fmla="*/ 3472060 w 3472060"/>
              <a:gd name="connsiteY1" fmla="*/ 12850 h 825932"/>
              <a:gd name="connsiteX2" fmla="*/ 3472060 w 3472060"/>
              <a:gd name="connsiteY2" fmla="*/ 480529 h 825932"/>
              <a:gd name="connsiteX3" fmla="*/ 3363699 w 3472060"/>
              <a:gd name="connsiteY3" fmla="*/ 498471 h 825932"/>
              <a:gd name="connsiteX4" fmla="*/ 42060 w 3472060"/>
              <a:gd name="connsiteY4" fmla="*/ 824486 h 825932"/>
              <a:gd name="connsiteX5" fmla="*/ 0 w 3472060"/>
              <a:gd name="connsiteY5" fmla="*/ 758452 h 825932"/>
              <a:gd name="connsiteX6" fmla="*/ 188014 w 3472060"/>
              <a:gd name="connsiteY6" fmla="*/ 735602 h 825932"/>
              <a:gd name="connsiteX7" fmla="*/ 284087 w 3472060"/>
              <a:gd name="connsiteY7" fmla="*/ 722590 h 825932"/>
              <a:gd name="connsiteX8" fmla="*/ 382288 w 3472060"/>
              <a:gd name="connsiteY8" fmla="*/ 709392 h 825932"/>
              <a:gd name="connsiteX9" fmla="*/ 481858 w 3472060"/>
              <a:gd name="connsiteY9" fmla="*/ 695774 h 825932"/>
              <a:gd name="connsiteX10" fmla="*/ 581897 w 3472060"/>
              <a:gd name="connsiteY10" fmla="*/ 680711 h 825932"/>
              <a:gd name="connsiteX11" fmla="*/ 683670 w 3472060"/>
              <a:gd name="connsiteY11" fmla="*/ 665256 h 825932"/>
              <a:gd name="connsiteX12" fmla="*/ 787206 w 3472060"/>
              <a:gd name="connsiteY12" fmla="*/ 649587 h 825932"/>
              <a:gd name="connsiteX13" fmla="*/ 892019 w 3472060"/>
              <a:gd name="connsiteY13" fmla="*/ 632968 h 825932"/>
              <a:gd name="connsiteX14" fmla="*/ 997620 w 3472060"/>
              <a:gd name="connsiteY14" fmla="*/ 614667 h 825932"/>
              <a:gd name="connsiteX15" fmla="*/ 1104727 w 3472060"/>
              <a:gd name="connsiteY15" fmla="*/ 596741 h 825932"/>
              <a:gd name="connsiteX16" fmla="*/ 1212669 w 3472060"/>
              <a:gd name="connsiteY16" fmla="*/ 577397 h 825932"/>
              <a:gd name="connsiteX17" fmla="*/ 1321506 w 3472060"/>
              <a:gd name="connsiteY17" fmla="*/ 556988 h 825932"/>
              <a:gd name="connsiteX18" fmla="*/ 1430709 w 3472060"/>
              <a:gd name="connsiteY18" fmla="*/ 536607 h 825932"/>
              <a:gd name="connsiteX19" fmla="*/ 1541050 w 3472060"/>
              <a:gd name="connsiteY19" fmla="*/ 514481 h 825932"/>
              <a:gd name="connsiteX20" fmla="*/ 1652805 w 3472060"/>
              <a:gd name="connsiteY20" fmla="*/ 492202 h 825932"/>
              <a:gd name="connsiteX21" fmla="*/ 1763708 w 3472060"/>
              <a:gd name="connsiteY21" fmla="*/ 469161 h 825932"/>
              <a:gd name="connsiteX22" fmla="*/ 1875795 w 3472060"/>
              <a:gd name="connsiteY22" fmla="*/ 444641 h 825932"/>
              <a:gd name="connsiteX23" fmla="*/ 1989128 w 3472060"/>
              <a:gd name="connsiteY23" fmla="*/ 418995 h 825932"/>
              <a:gd name="connsiteX24" fmla="*/ 2102476 w 3472060"/>
              <a:gd name="connsiteY24" fmla="*/ 393438 h 825932"/>
              <a:gd name="connsiteX25" fmla="*/ 2215549 w 3472060"/>
              <a:gd name="connsiteY25" fmla="*/ 366291 h 825932"/>
              <a:gd name="connsiteX26" fmla="*/ 2330490 w 3472060"/>
              <a:gd name="connsiteY26" fmla="*/ 337455 h 825932"/>
              <a:gd name="connsiteX27" fmla="*/ 2443333 w 3472060"/>
              <a:gd name="connsiteY27" fmla="*/ 308983 h 825932"/>
              <a:gd name="connsiteX28" fmla="*/ 2558014 w 3472060"/>
              <a:gd name="connsiteY28" fmla="*/ 278646 h 825932"/>
              <a:gd name="connsiteX29" fmla="*/ 2673621 w 3472060"/>
              <a:gd name="connsiteY29" fmla="*/ 247421 h 825932"/>
              <a:gd name="connsiteX30" fmla="*/ 2787008 w 3472060"/>
              <a:gd name="connsiteY30" fmla="*/ 215853 h 825932"/>
              <a:gd name="connsiteX31" fmla="*/ 2901442 w 3472060"/>
              <a:gd name="connsiteY31" fmla="*/ 182011 h 825932"/>
              <a:gd name="connsiteX32" fmla="*/ 3015722 w 3472060"/>
              <a:gd name="connsiteY32" fmla="*/ 147286 h 825932"/>
              <a:gd name="connsiteX33" fmla="*/ 3130018 w 3472060"/>
              <a:gd name="connsiteY33" fmla="*/ 112649 h 825932"/>
              <a:gd name="connsiteX34" fmla="*/ 3243551 w 3472060"/>
              <a:gd name="connsiteY34" fmla="*/ 75688 h 825932"/>
              <a:gd name="connsiteX35" fmla="*/ 3356992 w 3472060"/>
              <a:gd name="connsiteY35" fmla="*/ 38197 h 825932"/>
              <a:gd name="connsiteX36" fmla="*/ 3470310 w 3472060"/>
              <a:gd name="connsiteY36" fmla="*/ 0 h 825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472060" h="825932">
                <a:moveTo>
                  <a:pt x="3470310" y="0"/>
                </a:moveTo>
                <a:lnTo>
                  <a:pt x="3472060" y="12850"/>
                </a:lnTo>
                <a:lnTo>
                  <a:pt x="3472060" y="480529"/>
                </a:lnTo>
                <a:lnTo>
                  <a:pt x="3363699" y="498471"/>
                </a:lnTo>
                <a:cubicBezTo>
                  <a:pt x="2435623" y="645518"/>
                  <a:pt x="603076" y="844866"/>
                  <a:pt x="42060" y="824486"/>
                </a:cubicBezTo>
                <a:cubicBezTo>
                  <a:pt x="28151" y="802425"/>
                  <a:pt x="13909" y="780513"/>
                  <a:pt x="0" y="758452"/>
                </a:cubicBezTo>
                <a:lnTo>
                  <a:pt x="188014" y="735602"/>
                </a:lnTo>
                <a:lnTo>
                  <a:pt x="284087" y="722590"/>
                </a:lnTo>
                <a:lnTo>
                  <a:pt x="382288" y="709392"/>
                </a:lnTo>
                <a:lnTo>
                  <a:pt x="481858" y="695774"/>
                </a:lnTo>
                <a:lnTo>
                  <a:pt x="581897" y="680711"/>
                </a:lnTo>
                <a:lnTo>
                  <a:pt x="683670" y="665256"/>
                </a:lnTo>
                <a:lnTo>
                  <a:pt x="787206" y="649587"/>
                </a:lnTo>
                <a:lnTo>
                  <a:pt x="892019" y="632968"/>
                </a:lnTo>
                <a:lnTo>
                  <a:pt x="997620" y="614667"/>
                </a:lnTo>
                <a:lnTo>
                  <a:pt x="1104727" y="596741"/>
                </a:lnTo>
                <a:lnTo>
                  <a:pt x="1212669" y="577397"/>
                </a:lnTo>
                <a:lnTo>
                  <a:pt x="1321506" y="556988"/>
                </a:lnTo>
                <a:lnTo>
                  <a:pt x="1430709" y="536607"/>
                </a:lnTo>
                <a:lnTo>
                  <a:pt x="1541050" y="514481"/>
                </a:lnTo>
                <a:lnTo>
                  <a:pt x="1652805" y="492202"/>
                </a:lnTo>
                <a:lnTo>
                  <a:pt x="1763708" y="469161"/>
                </a:lnTo>
                <a:lnTo>
                  <a:pt x="1875795" y="444641"/>
                </a:lnTo>
                <a:lnTo>
                  <a:pt x="1989128" y="418995"/>
                </a:lnTo>
                <a:lnTo>
                  <a:pt x="2102476" y="393438"/>
                </a:lnTo>
                <a:lnTo>
                  <a:pt x="2215549" y="366291"/>
                </a:lnTo>
                <a:lnTo>
                  <a:pt x="2330490" y="337455"/>
                </a:lnTo>
                <a:lnTo>
                  <a:pt x="2443333" y="308983"/>
                </a:lnTo>
                <a:lnTo>
                  <a:pt x="2558014" y="278646"/>
                </a:lnTo>
                <a:lnTo>
                  <a:pt x="2673621" y="247421"/>
                </a:lnTo>
                <a:lnTo>
                  <a:pt x="2787008" y="215853"/>
                </a:lnTo>
                <a:lnTo>
                  <a:pt x="2901442" y="182011"/>
                </a:lnTo>
                <a:lnTo>
                  <a:pt x="3015722" y="147286"/>
                </a:lnTo>
                <a:lnTo>
                  <a:pt x="3130018" y="112649"/>
                </a:lnTo>
                <a:lnTo>
                  <a:pt x="3243551" y="75688"/>
                </a:lnTo>
                <a:lnTo>
                  <a:pt x="3356992" y="38197"/>
                </a:lnTo>
                <a:lnTo>
                  <a:pt x="347031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 useBgFill="1">
        <p:nvSpPr>
          <p:cNvPr id="9" name="Freeform: Shape 13">
            <a:extLst>
              <a:ext uri="{FF2B5EF4-FFF2-40B4-BE49-F238E27FC236}">
                <a16:creationId xmlns:a16="http://schemas.microsoft.com/office/drawing/2014/main" id="{6A681326-1C9D-44A3-A627-3871BDAE41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1" y="1762067"/>
            <a:ext cx="12192417" cy="5095933"/>
          </a:xfrm>
          <a:custGeom>
            <a:avLst/>
            <a:gdLst>
              <a:gd name="connsiteX0" fmla="*/ 0 w 12192417"/>
              <a:gd name="connsiteY0" fmla="*/ 0 h 5095933"/>
              <a:gd name="connsiteX1" fmla="*/ 71931 w 12192417"/>
              <a:gd name="connsiteY1" fmla="*/ 12261 h 5095933"/>
              <a:gd name="connsiteX2" fmla="*/ 282848 w 12192417"/>
              <a:gd name="connsiteY2" fmla="*/ 48343 h 5095933"/>
              <a:gd name="connsiteX3" fmla="*/ 436463 w 12192417"/>
              <a:gd name="connsiteY3" fmla="*/ 73565 h 5095933"/>
              <a:gd name="connsiteX4" fmla="*/ 619338 w 12192417"/>
              <a:gd name="connsiteY4" fmla="*/ 100188 h 5095933"/>
              <a:gd name="connsiteX5" fmla="*/ 836350 w 12192417"/>
              <a:gd name="connsiteY5" fmla="*/ 132066 h 5095933"/>
              <a:gd name="connsiteX6" fmla="*/ 1076527 w 12192417"/>
              <a:gd name="connsiteY6" fmla="*/ 165696 h 5095933"/>
              <a:gd name="connsiteX7" fmla="*/ 1347183 w 12192417"/>
              <a:gd name="connsiteY7" fmla="*/ 201077 h 5095933"/>
              <a:gd name="connsiteX8" fmla="*/ 1642222 w 12192417"/>
              <a:gd name="connsiteY8" fmla="*/ 238560 h 5095933"/>
              <a:gd name="connsiteX9" fmla="*/ 1962863 w 12192417"/>
              <a:gd name="connsiteY9" fmla="*/ 276043 h 5095933"/>
              <a:gd name="connsiteX10" fmla="*/ 2304231 w 12192417"/>
              <a:gd name="connsiteY10" fmla="*/ 314227 h 5095933"/>
              <a:gd name="connsiteX11" fmla="*/ 2672420 w 12192417"/>
              <a:gd name="connsiteY11" fmla="*/ 349608 h 5095933"/>
              <a:gd name="connsiteX12" fmla="*/ 3057677 w 12192417"/>
              <a:gd name="connsiteY12" fmla="*/ 383588 h 5095933"/>
              <a:gd name="connsiteX13" fmla="*/ 3464880 w 12192417"/>
              <a:gd name="connsiteY13" fmla="*/ 414415 h 5095933"/>
              <a:gd name="connsiteX14" fmla="*/ 3889151 w 12192417"/>
              <a:gd name="connsiteY14" fmla="*/ 443841 h 5095933"/>
              <a:gd name="connsiteX15" fmla="*/ 4331709 w 12192417"/>
              <a:gd name="connsiteY15" fmla="*/ 471515 h 5095933"/>
              <a:gd name="connsiteX16" fmla="*/ 4558475 w 12192417"/>
              <a:gd name="connsiteY16" fmla="*/ 481324 h 5095933"/>
              <a:gd name="connsiteX17" fmla="*/ 4790117 w 12192417"/>
              <a:gd name="connsiteY17" fmla="*/ 492183 h 5095933"/>
              <a:gd name="connsiteX18" fmla="*/ 5025417 w 12192417"/>
              <a:gd name="connsiteY18" fmla="*/ 502342 h 5095933"/>
              <a:gd name="connsiteX19" fmla="*/ 5261936 w 12192417"/>
              <a:gd name="connsiteY19" fmla="*/ 508998 h 5095933"/>
              <a:gd name="connsiteX20" fmla="*/ 5503331 w 12192417"/>
              <a:gd name="connsiteY20" fmla="*/ 514953 h 5095933"/>
              <a:gd name="connsiteX21" fmla="*/ 5747166 w 12192417"/>
              <a:gd name="connsiteY21" fmla="*/ 521259 h 5095933"/>
              <a:gd name="connsiteX22" fmla="*/ 5995876 w 12192417"/>
              <a:gd name="connsiteY22" fmla="*/ 525463 h 5095933"/>
              <a:gd name="connsiteX23" fmla="*/ 6247025 w 12192417"/>
              <a:gd name="connsiteY23" fmla="*/ 525463 h 5095933"/>
              <a:gd name="connsiteX24" fmla="*/ 6500612 w 12192417"/>
              <a:gd name="connsiteY24" fmla="*/ 527565 h 5095933"/>
              <a:gd name="connsiteX25" fmla="*/ 6756638 w 12192417"/>
              <a:gd name="connsiteY25" fmla="*/ 525463 h 5095933"/>
              <a:gd name="connsiteX26" fmla="*/ 7016321 w 12192417"/>
              <a:gd name="connsiteY26" fmla="*/ 521259 h 5095933"/>
              <a:gd name="connsiteX27" fmla="*/ 7276004 w 12192417"/>
              <a:gd name="connsiteY27" fmla="*/ 517406 h 5095933"/>
              <a:gd name="connsiteX28" fmla="*/ 7539344 w 12192417"/>
              <a:gd name="connsiteY28" fmla="*/ 508998 h 5095933"/>
              <a:gd name="connsiteX29" fmla="*/ 7805123 w 12192417"/>
              <a:gd name="connsiteY29" fmla="*/ 500241 h 5095933"/>
              <a:gd name="connsiteX30" fmla="*/ 8070902 w 12192417"/>
              <a:gd name="connsiteY30" fmla="*/ 490082 h 5095933"/>
              <a:gd name="connsiteX31" fmla="*/ 8339120 w 12192417"/>
              <a:gd name="connsiteY31" fmla="*/ 475719 h 5095933"/>
              <a:gd name="connsiteX32" fmla="*/ 8609775 w 12192417"/>
              <a:gd name="connsiteY32" fmla="*/ 458554 h 5095933"/>
              <a:gd name="connsiteX33" fmla="*/ 8881650 w 12192417"/>
              <a:gd name="connsiteY33" fmla="*/ 442089 h 5095933"/>
              <a:gd name="connsiteX34" fmla="*/ 9153525 w 12192417"/>
              <a:gd name="connsiteY34" fmla="*/ 421071 h 5095933"/>
              <a:gd name="connsiteX35" fmla="*/ 9429057 w 12192417"/>
              <a:gd name="connsiteY35" fmla="*/ 395849 h 5095933"/>
              <a:gd name="connsiteX36" fmla="*/ 9700932 w 12192417"/>
              <a:gd name="connsiteY36" fmla="*/ 370626 h 5095933"/>
              <a:gd name="connsiteX37" fmla="*/ 9977683 w 12192417"/>
              <a:gd name="connsiteY37" fmla="*/ 341551 h 5095933"/>
              <a:gd name="connsiteX38" fmla="*/ 10255654 w 12192417"/>
              <a:gd name="connsiteY38" fmla="*/ 309673 h 5095933"/>
              <a:gd name="connsiteX39" fmla="*/ 10529967 w 12192417"/>
              <a:gd name="connsiteY39" fmla="*/ 276043 h 5095933"/>
              <a:gd name="connsiteX40" fmla="*/ 10807938 w 12192417"/>
              <a:gd name="connsiteY40" fmla="*/ 236809 h 5095933"/>
              <a:gd name="connsiteX41" fmla="*/ 11084689 w 12192417"/>
              <a:gd name="connsiteY41" fmla="*/ 194772 h 5095933"/>
              <a:gd name="connsiteX42" fmla="*/ 11362660 w 12192417"/>
              <a:gd name="connsiteY42" fmla="*/ 153085 h 5095933"/>
              <a:gd name="connsiteX43" fmla="*/ 11639411 w 12192417"/>
              <a:gd name="connsiteY43" fmla="*/ 104392 h 5095933"/>
              <a:gd name="connsiteX44" fmla="*/ 11914944 w 12192417"/>
              <a:gd name="connsiteY44" fmla="*/ 54648 h 5095933"/>
              <a:gd name="connsiteX45" fmla="*/ 12191695 w 12192417"/>
              <a:gd name="connsiteY45" fmla="*/ 2452 h 5095933"/>
              <a:gd name="connsiteX46" fmla="*/ 12191695 w 12192417"/>
              <a:gd name="connsiteY46" fmla="*/ 2162231 h 5095933"/>
              <a:gd name="connsiteX47" fmla="*/ 12192417 w 12192417"/>
              <a:gd name="connsiteY47" fmla="*/ 2162231 h 5095933"/>
              <a:gd name="connsiteX48" fmla="*/ 12192417 w 12192417"/>
              <a:gd name="connsiteY48" fmla="*/ 5095933 h 5095933"/>
              <a:gd name="connsiteX49" fmla="*/ 0 w 12192417"/>
              <a:gd name="connsiteY49" fmla="*/ 5095933 h 5095933"/>
              <a:gd name="connsiteX50" fmla="*/ 0 w 12192417"/>
              <a:gd name="connsiteY50" fmla="*/ 2791958 h 5095933"/>
              <a:gd name="connsiteX51" fmla="*/ 0 w 12192417"/>
              <a:gd name="connsiteY51" fmla="*/ 2162231 h 509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2192417" h="5095933">
                <a:moveTo>
                  <a:pt x="0" y="0"/>
                </a:moveTo>
                <a:lnTo>
                  <a:pt x="71931" y="12261"/>
                </a:lnTo>
                <a:lnTo>
                  <a:pt x="282848" y="48343"/>
                </a:lnTo>
                <a:lnTo>
                  <a:pt x="436463" y="73565"/>
                </a:lnTo>
                <a:lnTo>
                  <a:pt x="619338" y="100188"/>
                </a:lnTo>
                <a:lnTo>
                  <a:pt x="836350" y="132066"/>
                </a:lnTo>
                <a:lnTo>
                  <a:pt x="1076527" y="165696"/>
                </a:lnTo>
                <a:lnTo>
                  <a:pt x="1347183" y="201077"/>
                </a:lnTo>
                <a:lnTo>
                  <a:pt x="1642222" y="238560"/>
                </a:lnTo>
                <a:lnTo>
                  <a:pt x="1962863" y="276043"/>
                </a:lnTo>
                <a:lnTo>
                  <a:pt x="2304231" y="314227"/>
                </a:lnTo>
                <a:lnTo>
                  <a:pt x="2672420" y="349608"/>
                </a:lnTo>
                <a:lnTo>
                  <a:pt x="3057677" y="383588"/>
                </a:lnTo>
                <a:lnTo>
                  <a:pt x="3464880" y="414415"/>
                </a:lnTo>
                <a:lnTo>
                  <a:pt x="3889151" y="443841"/>
                </a:lnTo>
                <a:lnTo>
                  <a:pt x="4331709" y="471515"/>
                </a:lnTo>
                <a:lnTo>
                  <a:pt x="4558475" y="481324"/>
                </a:lnTo>
                <a:lnTo>
                  <a:pt x="4790117" y="492183"/>
                </a:lnTo>
                <a:lnTo>
                  <a:pt x="5025417" y="502342"/>
                </a:lnTo>
                <a:lnTo>
                  <a:pt x="5261936" y="508998"/>
                </a:lnTo>
                <a:lnTo>
                  <a:pt x="5503331" y="514953"/>
                </a:lnTo>
                <a:lnTo>
                  <a:pt x="5747166" y="521259"/>
                </a:lnTo>
                <a:lnTo>
                  <a:pt x="5995876" y="525463"/>
                </a:lnTo>
                <a:lnTo>
                  <a:pt x="6247025" y="525463"/>
                </a:lnTo>
                <a:lnTo>
                  <a:pt x="6500612" y="527565"/>
                </a:lnTo>
                <a:lnTo>
                  <a:pt x="6756638" y="525463"/>
                </a:lnTo>
                <a:lnTo>
                  <a:pt x="7016321" y="521259"/>
                </a:lnTo>
                <a:lnTo>
                  <a:pt x="7276004" y="517406"/>
                </a:lnTo>
                <a:lnTo>
                  <a:pt x="7539344" y="508998"/>
                </a:lnTo>
                <a:lnTo>
                  <a:pt x="7805123" y="500241"/>
                </a:lnTo>
                <a:lnTo>
                  <a:pt x="8070902" y="490082"/>
                </a:lnTo>
                <a:lnTo>
                  <a:pt x="8339120" y="475719"/>
                </a:lnTo>
                <a:lnTo>
                  <a:pt x="8609775" y="458554"/>
                </a:lnTo>
                <a:lnTo>
                  <a:pt x="8881650" y="442089"/>
                </a:lnTo>
                <a:lnTo>
                  <a:pt x="9153525" y="421071"/>
                </a:lnTo>
                <a:lnTo>
                  <a:pt x="9429057" y="395849"/>
                </a:lnTo>
                <a:lnTo>
                  <a:pt x="9700932" y="370626"/>
                </a:lnTo>
                <a:lnTo>
                  <a:pt x="9977683" y="341551"/>
                </a:lnTo>
                <a:lnTo>
                  <a:pt x="10255654" y="309673"/>
                </a:lnTo>
                <a:lnTo>
                  <a:pt x="10529967" y="276043"/>
                </a:lnTo>
                <a:lnTo>
                  <a:pt x="10807938" y="236809"/>
                </a:lnTo>
                <a:lnTo>
                  <a:pt x="11084689" y="194772"/>
                </a:lnTo>
                <a:lnTo>
                  <a:pt x="11362660" y="153085"/>
                </a:lnTo>
                <a:lnTo>
                  <a:pt x="11639411" y="104392"/>
                </a:lnTo>
                <a:lnTo>
                  <a:pt x="11914944" y="54648"/>
                </a:lnTo>
                <a:lnTo>
                  <a:pt x="12191695" y="2452"/>
                </a:lnTo>
                <a:lnTo>
                  <a:pt x="12191695" y="2162231"/>
                </a:lnTo>
                <a:lnTo>
                  <a:pt x="12192417" y="2162231"/>
                </a:lnTo>
                <a:lnTo>
                  <a:pt x="12192417" y="5095933"/>
                </a:lnTo>
                <a:lnTo>
                  <a:pt x="0" y="5095933"/>
                </a:lnTo>
                <a:lnTo>
                  <a:pt x="0" y="2791958"/>
                </a:lnTo>
                <a:lnTo>
                  <a:pt x="0" y="2162231"/>
                </a:lnTo>
                <a:close/>
              </a:path>
            </a:pathLst>
          </a:custGeom>
          <a:ln>
            <a:noFill/>
          </a:ln>
        </p:spPr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52DEB6-587F-4410-838F-3EA0BE6739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3312" y="452718"/>
            <a:ext cx="8947522" cy="1400530"/>
          </a:xfrm>
        </p:spPr>
        <p:txBody>
          <a:bodyPr anchor="ctr">
            <a:normAutofit/>
          </a:bodyPr>
          <a:lstStyle/>
          <a:p>
            <a:r>
              <a:rPr lang="en-US">
                <a:solidFill>
                  <a:srgbClr val="FFFFFF"/>
                </a:solidFill>
              </a:rPr>
              <a:t>Monitoring, Alerting, Inventory- SolarWind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796D6DD-34C8-4ED2-B4CF-5D6552AE591F}"/>
              </a:ext>
            </a:extLst>
          </p:cNvPr>
          <p:cNvSpPr txBox="1"/>
          <p:nvPr/>
        </p:nvSpPr>
        <p:spPr>
          <a:xfrm>
            <a:off x="7034628" y="2836682"/>
            <a:ext cx="4545874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fontAlgn="base">
              <a:buFont typeface="Symbol" panose="05050102010706020507" pitchFamily="18" charset="2"/>
              <a:buChar char=""/>
            </a:pPr>
            <a:r>
              <a:rPr lang="en-US" sz="1800">
                <a:effectLst/>
                <a:ea typeface="MS Mincho" panose="02020609040205080304" pitchFamily="49" charset="-128"/>
                <a:cs typeface="Calibri" panose="020F0502020204030204" pitchFamily="34" charset="0"/>
              </a:rPr>
              <a:t>Monitor Infrastructure and applications on multiple domains.</a:t>
            </a:r>
          </a:p>
          <a:p>
            <a:pPr marL="342900" indent="-342900" fontAlgn="base">
              <a:buFont typeface="Symbol" panose="05050102010706020507" pitchFamily="18" charset="2"/>
              <a:buChar char=""/>
            </a:pPr>
            <a:r>
              <a:rPr lang="en-US" sz="1800">
                <a:effectLst/>
                <a:ea typeface="MS Mincho" panose="02020609040205080304" pitchFamily="49" charset="-128"/>
                <a:cs typeface="Calibri" panose="020F0502020204030204" pitchFamily="34" charset="0"/>
              </a:rPr>
              <a:t>Interface with CMDB </a:t>
            </a:r>
            <a:r>
              <a:rPr lang="en-US">
                <a:ea typeface="MS Mincho" panose="02020609040205080304" pitchFamily="49" charset="-128"/>
                <a:cs typeface="Calibri" panose="020F0502020204030204" pitchFamily="34" charset="0"/>
              </a:rPr>
              <a:t>for Inventory</a:t>
            </a:r>
          </a:p>
          <a:p>
            <a:pPr marL="342900" indent="-342900" fontAlgn="base">
              <a:buFont typeface="Symbol" panose="05050102010706020507" pitchFamily="18" charset="2"/>
              <a:buChar char=""/>
            </a:pPr>
            <a:r>
              <a:rPr lang="en-US">
                <a:ea typeface="MS Mincho" panose="02020609040205080304" pitchFamily="49" charset="-128"/>
                <a:cs typeface="Calibri" panose="020F0502020204030204" pitchFamily="34" charset="0"/>
              </a:rPr>
              <a:t>Configuration management for easy view of changes</a:t>
            </a:r>
            <a:endParaRPr lang="en-US" sz="1800">
              <a:effectLst/>
              <a:ea typeface="MS Mincho" panose="02020609040205080304" pitchFamily="49" charset="-128"/>
              <a:cs typeface="Calibri" panose="020F0502020204030204" pitchFamily="34" charset="0"/>
            </a:endParaRPr>
          </a:p>
          <a:p>
            <a:pPr marL="342900" marR="0" lvl="0" indent="-342900" fontAlgn="base">
              <a:buFont typeface="Symbol" panose="05050102010706020507" pitchFamily="18" charset="2"/>
              <a:buChar char=""/>
            </a:pPr>
            <a:r>
              <a:rPr lang="en-US" sz="1800">
                <a:effectLst/>
                <a:ea typeface="MS Mincho" panose="02020609040205080304" pitchFamily="49" charset="-128"/>
                <a:cs typeface="Calibri" panose="020F0502020204030204" pitchFamily="34" charset="0"/>
              </a:rPr>
              <a:t>Alerting: email, scripts, API’s, escalati</a:t>
            </a:r>
            <a:r>
              <a:rPr lang="en-US">
                <a:ea typeface="MS Mincho" panose="02020609040205080304" pitchFamily="49" charset="-128"/>
                <a:cs typeface="Calibri" panose="020F0502020204030204" pitchFamily="34" charset="0"/>
              </a:rPr>
              <a:t>on</a:t>
            </a:r>
            <a:r>
              <a:rPr lang="en-US" sz="1800">
                <a:effectLst/>
                <a:ea typeface="MS Mincho" panose="02020609040205080304" pitchFamily="49" charset="-128"/>
                <a:cs typeface="Calibri" panose="020F0502020204030204" pitchFamily="34" charset="0"/>
              </a:rPr>
              <a:t> </a:t>
            </a:r>
          </a:p>
          <a:p>
            <a:pPr marL="342900" marR="0" lvl="0" indent="-342900" fontAlgn="base">
              <a:buFont typeface="Symbol" panose="05050102010706020507" pitchFamily="18" charset="2"/>
              <a:buChar char=""/>
            </a:pPr>
            <a:r>
              <a:rPr lang="en-US" sz="1800">
                <a:effectLst/>
                <a:ea typeface="MS Mincho" panose="02020609040205080304" pitchFamily="49" charset="-128"/>
                <a:cs typeface="Calibri" panose="020F0502020204030204" pitchFamily="34" charset="0"/>
              </a:rPr>
              <a:t>Grouping: Ability to group monitored resources for reporting, dashboards, and alerting. </a:t>
            </a:r>
          </a:p>
          <a:p>
            <a:pPr marR="0" lvl="0" fontAlgn="base"/>
            <a:endParaRPr lang="en-US" sz="1800">
              <a:effectLst/>
              <a:latin typeface="Calibri" panose="020F0502020204030204" pitchFamily="34" charset="0"/>
              <a:ea typeface="MS Mincho" panose="02020609040205080304" pitchFamily="49" charset="-128"/>
              <a:cs typeface="Calibri" panose="020F0502020204030204" pitchFamily="34" charset="0"/>
            </a:endParaRPr>
          </a:p>
          <a:p>
            <a:pPr marL="342900" marR="0" lvl="0" indent="-342900" fontAlgn="base">
              <a:buFont typeface="Symbol" panose="05050102010706020507" pitchFamily="18" charset="2"/>
              <a:buChar char=""/>
            </a:pPr>
            <a:endParaRPr lang="en-US" sz="1800">
              <a:effectLst/>
              <a:latin typeface="Calibri" panose="020F0502020204030204" pitchFamily="34" charset="0"/>
              <a:ea typeface="MS Mincho" panose="02020609040205080304" pitchFamily="49" charset="-128"/>
              <a:cs typeface="Calibri" panose="020F0502020204030204" pitchFamily="34" charset="0"/>
            </a:endParaRPr>
          </a:p>
          <a:p>
            <a:endParaRPr lang="en-US"/>
          </a:p>
        </p:txBody>
      </p:sp>
      <p:pic>
        <p:nvPicPr>
          <p:cNvPr id="10" name="Content Placeholder 9" descr="Graphical user interface, application, pie chart&#10;&#10;Description automatically generated">
            <a:extLst>
              <a:ext uri="{FF2B5EF4-FFF2-40B4-BE49-F238E27FC236}">
                <a16:creationId xmlns:a16="http://schemas.microsoft.com/office/drawing/2014/main" id="{29E5B8C6-AB66-45F7-913D-7A66829F932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54" y="2428618"/>
            <a:ext cx="6340260" cy="3572687"/>
          </a:xfrm>
        </p:spPr>
      </p:pic>
    </p:spTree>
    <p:extLst>
      <p:ext uri="{BB962C8B-B14F-4D97-AF65-F5344CB8AC3E}">
        <p14:creationId xmlns:p14="http://schemas.microsoft.com/office/powerpoint/2010/main" val="6651019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74CD14DB-BB81-479F-A1FC-1C75640E9F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C943A91B-7CA7-4592-A975-73B1BF8C4C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EC471314-E46A-414B-8D91-74880E84F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719939" y="1460230"/>
            <a:ext cx="3472060" cy="825932"/>
          </a:xfrm>
          <a:custGeom>
            <a:avLst/>
            <a:gdLst>
              <a:gd name="connsiteX0" fmla="*/ 3470310 w 3472060"/>
              <a:gd name="connsiteY0" fmla="*/ 0 h 825932"/>
              <a:gd name="connsiteX1" fmla="*/ 3472060 w 3472060"/>
              <a:gd name="connsiteY1" fmla="*/ 12850 h 825932"/>
              <a:gd name="connsiteX2" fmla="*/ 3472060 w 3472060"/>
              <a:gd name="connsiteY2" fmla="*/ 480529 h 825932"/>
              <a:gd name="connsiteX3" fmla="*/ 3363699 w 3472060"/>
              <a:gd name="connsiteY3" fmla="*/ 498471 h 825932"/>
              <a:gd name="connsiteX4" fmla="*/ 42060 w 3472060"/>
              <a:gd name="connsiteY4" fmla="*/ 824486 h 825932"/>
              <a:gd name="connsiteX5" fmla="*/ 0 w 3472060"/>
              <a:gd name="connsiteY5" fmla="*/ 758452 h 825932"/>
              <a:gd name="connsiteX6" fmla="*/ 188014 w 3472060"/>
              <a:gd name="connsiteY6" fmla="*/ 735602 h 825932"/>
              <a:gd name="connsiteX7" fmla="*/ 284087 w 3472060"/>
              <a:gd name="connsiteY7" fmla="*/ 722590 h 825932"/>
              <a:gd name="connsiteX8" fmla="*/ 382288 w 3472060"/>
              <a:gd name="connsiteY8" fmla="*/ 709392 h 825932"/>
              <a:gd name="connsiteX9" fmla="*/ 481858 w 3472060"/>
              <a:gd name="connsiteY9" fmla="*/ 695774 h 825932"/>
              <a:gd name="connsiteX10" fmla="*/ 581897 w 3472060"/>
              <a:gd name="connsiteY10" fmla="*/ 680711 h 825932"/>
              <a:gd name="connsiteX11" fmla="*/ 683670 w 3472060"/>
              <a:gd name="connsiteY11" fmla="*/ 665256 h 825932"/>
              <a:gd name="connsiteX12" fmla="*/ 787206 w 3472060"/>
              <a:gd name="connsiteY12" fmla="*/ 649587 h 825932"/>
              <a:gd name="connsiteX13" fmla="*/ 892019 w 3472060"/>
              <a:gd name="connsiteY13" fmla="*/ 632968 h 825932"/>
              <a:gd name="connsiteX14" fmla="*/ 997620 w 3472060"/>
              <a:gd name="connsiteY14" fmla="*/ 614667 h 825932"/>
              <a:gd name="connsiteX15" fmla="*/ 1104727 w 3472060"/>
              <a:gd name="connsiteY15" fmla="*/ 596741 h 825932"/>
              <a:gd name="connsiteX16" fmla="*/ 1212669 w 3472060"/>
              <a:gd name="connsiteY16" fmla="*/ 577397 h 825932"/>
              <a:gd name="connsiteX17" fmla="*/ 1321506 w 3472060"/>
              <a:gd name="connsiteY17" fmla="*/ 556988 h 825932"/>
              <a:gd name="connsiteX18" fmla="*/ 1430709 w 3472060"/>
              <a:gd name="connsiteY18" fmla="*/ 536607 h 825932"/>
              <a:gd name="connsiteX19" fmla="*/ 1541050 w 3472060"/>
              <a:gd name="connsiteY19" fmla="*/ 514481 h 825932"/>
              <a:gd name="connsiteX20" fmla="*/ 1652805 w 3472060"/>
              <a:gd name="connsiteY20" fmla="*/ 492202 h 825932"/>
              <a:gd name="connsiteX21" fmla="*/ 1763708 w 3472060"/>
              <a:gd name="connsiteY21" fmla="*/ 469161 h 825932"/>
              <a:gd name="connsiteX22" fmla="*/ 1875795 w 3472060"/>
              <a:gd name="connsiteY22" fmla="*/ 444641 h 825932"/>
              <a:gd name="connsiteX23" fmla="*/ 1989128 w 3472060"/>
              <a:gd name="connsiteY23" fmla="*/ 418995 h 825932"/>
              <a:gd name="connsiteX24" fmla="*/ 2102476 w 3472060"/>
              <a:gd name="connsiteY24" fmla="*/ 393438 h 825932"/>
              <a:gd name="connsiteX25" fmla="*/ 2215549 w 3472060"/>
              <a:gd name="connsiteY25" fmla="*/ 366291 h 825932"/>
              <a:gd name="connsiteX26" fmla="*/ 2330490 w 3472060"/>
              <a:gd name="connsiteY26" fmla="*/ 337455 h 825932"/>
              <a:gd name="connsiteX27" fmla="*/ 2443333 w 3472060"/>
              <a:gd name="connsiteY27" fmla="*/ 308983 h 825932"/>
              <a:gd name="connsiteX28" fmla="*/ 2558014 w 3472060"/>
              <a:gd name="connsiteY28" fmla="*/ 278646 h 825932"/>
              <a:gd name="connsiteX29" fmla="*/ 2673621 w 3472060"/>
              <a:gd name="connsiteY29" fmla="*/ 247421 h 825932"/>
              <a:gd name="connsiteX30" fmla="*/ 2787008 w 3472060"/>
              <a:gd name="connsiteY30" fmla="*/ 215853 h 825932"/>
              <a:gd name="connsiteX31" fmla="*/ 2901442 w 3472060"/>
              <a:gd name="connsiteY31" fmla="*/ 182011 h 825932"/>
              <a:gd name="connsiteX32" fmla="*/ 3015722 w 3472060"/>
              <a:gd name="connsiteY32" fmla="*/ 147286 h 825932"/>
              <a:gd name="connsiteX33" fmla="*/ 3130018 w 3472060"/>
              <a:gd name="connsiteY33" fmla="*/ 112649 h 825932"/>
              <a:gd name="connsiteX34" fmla="*/ 3243551 w 3472060"/>
              <a:gd name="connsiteY34" fmla="*/ 75688 h 825932"/>
              <a:gd name="connsiteX35" fmla="*/ 3356992 w 3472060"/>
              <a:gd name="connsiteY35" fmla="*/ 38197 h 825932"/>
              <a:gd name="connsiteX36" fmla="*/ 3470310 w 3472060"/>
              <a:gd name="connsiteY36" fmla="*/ 0 h 825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472060" h="825932">
                <a:moveTo>
                  <a:pt x="3470310" y="0"/>
                </a:moveTo>
                <a:lnTo>
                  <a:pt x="3472060" y="12850"/>
                </a:lnTo>
                <a:lnTo>
                  <a:pt x="3472060" y="480529"/>
                </a:lnTo>
                <a:lnTo>
                  <a:pt x="3363699" y="498471"/>
                </a:lnTo>
                <a:cubicBezTo>
                  <a:pt x="2435623" y="645518"/>
                  <a:pt x="603076" y="844866"/>
                  <a:pt x="42060" y="824486"/>
                </a:cubicBezTo>
                <a:cubicBezTo>
                  <a:pt x="28151" y="802425"/>
                  <a:pt x="13909" y="780513"/>
                  <a:pt x="0" y="758452"/>
                </a:cubicBezTo>
                <a:lnTo>
                  <a:pt x="188014" y="735602"/>
                </a:lnTo>
                <a:lnTo>
                  <a:pt x="284087" y="722590"/>
                </a:lnTo>
                <a:lnTo>
                  <a:pt x="382288" y="709392"/>
                </a:lnTo>
                <a:lnTo>
                  <a:pt x="481858" y="695774"/>
                </a:lnTo>
                <a:lnTo>
                  <a:pt x="581897" y="680711"/>
                </a:lnTo>
                <a:lnTo>
                  <a:pt x="683670" y="665256"/>
                </a:lnTo>
                <a:lnTo>
                  <a:pt x="787206" y="649587"/>
                </a:lnTo>
                <a:lnTo>
                  <a:pt x="892019" y="632968"/>
                </a:lnTo>
                <a:lnTo>
                  <a:pt x="997620" y="614667"/>
                </a:lnTo>
                <a:lnTo>
                  <a:pt x="1104727" y="596741"/>
                </a:lnTo>
                <a:lnTo>
                  <a:pt x="1212669" y="577397"/>
                </a:lnTo>
                <a:lnTo>
                  <a:pt x="1321506" y="556988"/>
                </a:lnTo>
                <a:lnTo>
                  <a:pt x="1430709" y="536607"/>
                </a:lnTo>
                <a:lnTo>
                  <a:pt x="1541050" y="514481"/>
                </a:lnTo>
                <a:lnTo>
                  <a:pt x="1652805" y="492202"/>
                </a:lnTo>
                <a:lnTo>
                  <a:pt x="1763708" y="469161"/>
                </a:lnTo>
                <a:lnTo>
                  <a:pt x="1875795" y="444641"/>
                </a:lnTo>
                <a:lnTo>
                  <a:pt x="1989128" y="418995"/>
                </a:lnTo>
                <a:lnTo>
                  <a:pt x="2102476" y="393438"/>
                </a:lnTo>
                <a:lnTo>
                  <a:pt x="2215549" y="366291"/>
                </a:lnTo>
                <a:lnTo>
                  <a:pt x="2330490" y="337455"/>
                </a:lnTo>
                <a:lnTo>
                  <a:pt x="2443333" y="308983"/>
                </a:lnTo>
                <a:lnTo>
                  <a:pt x="2558014" y="278646"/>
                </a:lnTo>
                <a:lnTo>
                  <a:pt x="2673621" y="247421"/>
                </a:lnTo>
                <a:lnTo>
                  <a:pt x="2787008" y="215853"/>
                </a:lnTo>
                <a:lnTo>
                  <a:pt x="2901442" y="182011"/>
                </a:lnTo>
                <a:lnTo>
                  <a:pt x="3015722" y="147286"/>
                </a:lnTo>
                <a:lnTo>
                  <a:pt x="3130018" y="112649"/>
                </a:lnTo>
                <a:lnTo>
                  <a:pt x="3243551" y="75688"/>
                </a:lnTo>
                <a:lnTo>
                  <a:pt x="3356992" y="38197"/>
                </a:lnTo>
                <a:lnTo>
                  <a:pt x="347031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 useBgFill="1">
        <p:nvSpPr>
          <p:cNvPr id="9" name="Freeform: Shape 13">
            <a:extLst>
              <a:ext uri="{FF2B5EF4-FFF2-40B4-BE49-F238E27FC236}">
                <a16:creationId xmlns:a16="http://schemas.microsoft.com/office/drawing/2014/main" id="{6A681326-1C9D-44A3-A627-3871BDAE41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1" y="1762067"/>
            <a:ext cx="12192417" cy="5095933"/>
          </a:xfrm>
          <a:custGeom>
            <a:avLst/>
            <a:gdLst>
              <a:gd name="connsiteX0" fmla="*/ 0 w 12192417"/>
              <a:gd name="connsiteY0" fmla="*/ 0 h 5095933"/>
              <a:gd name="connsiteX1" fmla="*/ 71931 w 12192417"/>
              <a:gd name="connsiteY1" fmla="*/ 12261 h 5095933"/>
              <a:gd name="connsiteX2" fmla="*/ 282848 w 12192417"/>
              <a:gd name="connsiteY2" fmla="*/ 48343 h 5095933"/>
              <a:gd name="connsiteX3" fmla="*/ 436463 w 12192417"/>
              <a:gd name="connsiteY3" fmla="*/ 73565 h 5095933"/>
              <a:gd name="connsiteX4" fmla="*/ 619338 w 12192417"/>
              <a:gd name="connsiteY4" fmla="*/ 100188 h 5095933"/>
              <a:gd name="connsiteX5" fmla="*/ 836350 w 12192417"/>
              <a:gd name="connsiteY5" fmla="*/ 132066 h 5095933"/>
              <a:gd name="connsiteX6" fmla="*/ 1076527 w 12192417"/>
              <a:gd name="connsiteY6" fmla="*/ 165696 h 5095933"/>
              <a:gd name="connsiteX7" fmla="*/ 1347183 w 12192417"/>
              <a:gd name="connsiteY7" fmla="*/ 201077 h 5095933"/>
              <a:gd name="connsiteX8" fmla="*/ 1642222 w 12192417"/>
              <a:gd name="connsiteY8" fmla="*/ 238560 h 5095933"/>
              <a:gd name="connsiteX9" fmla="*/ 1962863 w 12192417"/>
              <a:gd name="connsiteY9" fmla="*/ 276043 h 5095933"/>
              <a:gd name="connsiteX10" fmla="*/ 2304231 w 12192417"/>
              <a:gd name="connsiteY10" fmla="*/ 314227 h 5095933"/>
              <a:gd name="connsiteX11" fmla="*/ 2672420 w 12192417"/>
              <a:gd name="connsiteY11" fmla="*/ 349608 h 5095933"/>
              <a:gd name="connsiteX12" fmla="*/ 3057677 w 12192417"/>
              <a:gd name="connsiteY12" fmla="*/ 383588 h 5095933"/>
              <a:gd name="connsiteX13" fmla="*/ 3464880 w 12192417"/>
              <a:gd name="connsiteY13" fmla="*/ 414415 h 5095933"/>
              <a:gd name="connsiteX14" fmla="*/ 3889151 w 12192417"/>
              <a:gd name="connsiteY14" fmla="*/ 443841 h 5095933"/>
              <a:gd name="connsiteX15" fmla="*/ 4331709 w 12192417"/>
              <a:gd name="connsiteY15" fmla="*/ 471515 h 5095933"/>
              <a:gd name="connsiteX16" fmla="*/ 4558475 w 12192417"/>
              <a:gd name="connsiteY16" fmla="*/ 481324 h 5095933"/>
              <a:gd name="connsiteX17" fmla="*/ 4790117 w 12192417"/>
              <a:gd name="connsiteY17" fmla="*/ 492183 h 5095933"/>
              <a:gd name="connsiteX18" fmla="*/ 5025417 w 12192417"/>
              <a:gd name="connsiteY18" fmla="*/ 502342 h 5095933"/>
              <a:gd name="connsiteX19" fmla="*/ 5261936 w 12192417"/>
              <a:gd name="connsiteY19" fmla="*/ 508998 h 5095933"/>
              <a:gd name="connsiteX20" fmla="*/ 5503331 w 12192417"/>
              <a:gd name="connsiteY20" fmla="*/ 514953 h 5095933"/>
              <a:gd name="connsiteX21" fmla="*/ 5747166 w 12192417"/>
              <a:gd name="connsiteY21" fmla="*/ 521259 h 5095933"/>
              <a:gd name="connsiteX22" fmla="*/ 5995876 w 12192417"/>
              <a:gd name="connsiteY22" fmla="*/ 525463 h 5095933"/>
              <a:gd name="connsiteX23" fmla="*/ 6247025 w 12192417"/>
              <a:gd name="connsiteY23" fmla="*/ 525463 h 5095933"/>
              <a:gd name="connsiteX24" fmla="*/ 6500612 w 12192417"/>
              <a:gd name="connsiteY24" fmla="*/ 527565 h 5095933"/>
              <a:gd name="connsiteX25" fmla="*/ 6756638 w 12192417"/>
              <a:gd name="connsiteY25" fmla="*/ 525463 h 5095933"/>
              <a:gd name="connsiteX26" fmla="*/ 7016321 w 12192417"/>
              <a:gd name="connsiteY26" fmla="*/ 521259 h 5095933"/>
              <a:gd name="connsiteX27" fmla="*/ 7276004 w 12192417"/>
              <a:gd name="connsiteY27" fmla="*/ 517406 h 5095933"/>
              <a:gd name="connsiteX28" fmla="*/ 7539344 w 12192417"/>
              <a:gd name="connsiteY28" fmla="*/ 508998 h 5095933"/>
              <a:gd name="connsiteX29" fmla="*/ 7805123 w 12192417"/>
              <a:gd name="connsiteY29" fmla="*/ 500241 h 5095933"/>
              <a:gd name="connsiteX30" fmla="*/ 8070902 w 12192417"/>
              <a:gd name="connsiteY30" fmla="*/ 490082 h 5095933"/>
              <a:gd name="connsiteX31" fmla="*/ 8339120 w 12192417"/>
              <a:gd name="connsiteY31" fmla="*/ 475719 h 5095933"/>
              <a:gd name="connsiteX32" fmla="*/ 8609775 w 12192417"/>
              <a:gd name="connsiteY32" fmla="*/ 458554 h 5095933"/>
              <a:gd name="connsiteX33" fmla="*/ 8881650 w 12192417"/>
              <a:gd name="connsiteY33" fmla="*/ 442089 h 5095933"/>
              <a:gd name="connsiteX34" fmla="*/ 9153525 w 12192417"/>
              <a:gd name="connsiteY34" fmla="*/ 421071 h 5095933"/>
              <a:gd name="connsiteX35" fmla="*/ 9429057 w 12192417"/>
              <a:gd name="connsiteY35" fmla="*/ 395849 h 5095933"/>
              <a:gd name="connsiteX36" fmla="*/ 9700932 w 12192417"/>
              <a:gd name="connsiteY36" fmla="*/ 370626 h 5095933"/>
              <a:gd name="connsiteX37" fmla="*/ 9977683 w 12192417"/>
              <a:gd name="connsiteY37" fmla="*/ 341551 h 5095933"/>
              <a:gd name="connsiteX38" fmla="*/ 10255654 w 12192417"/>
              <a:gd name="connsiteY38" fmla="*/ 309673 h 5095933"/>
              <a:gd name="connsiteX39" fmla="*/ 10529967 w 12192417"/>
              <a:gd name="connsiteY39" fmla="*/ 276043 h 5095933"/>
              <a:gd name="connsiteX40" fmla="*/ 10807938 w 12192417"/>
              <a:gd name="connsiteY40" fmla="*/ 236809 h 5095933"/>
              <a:gd name="connsiteX41" fmla="*/ 11084689 w 12192417"/>
              <a:gd name="connsiteY41" fmla="*/ 194772 h 5095933"/>
              <a:gd name="connsiteX42" fmla="*/ 11362660 w 12192417"/>
              <a:gd name="connsiteY42" fmla="*/ 153085 h 5095933"/>
              <a:gd name="connsiteX43" fmla="*/ 11639411 w 12192417"/>
              <a:gd name="connsiteY43" fmla="*/ 104392 h 5095933"/>
              <a:gd name="connsiteX44" fmla="*/ 11914944 w 12192417"/>
              <a:gd name="connsiteY44" fmla="*/ 54648 h 5095933"/>
              <a:gd name="connsiteX45" fmla="*/ 12191695 w 12192417"/>
              <a:gd name="connsiteY45" fmla="*/ 2452 h 5095933"/>
              <a:gd name="connsiteX46" fmla="*/ 12191695 w 12192417"/>
              <a:gd name="connsiteY46" fmla="*/ 2162231 h 5095933"/>
              <a:gd name="connsiteX47" fmla="*/ 12192417 w 12192417"/>
              <a:gd name="connsiteY47" fmla="*/ 2162231 h 5095933"/>
              <a:gd name="connsiteX48" fmla="*/ 12192417 w 12192417"/>
              <a:gd name="connsiteY48" fmla="*/ 5095933 h 5095933"/>
              <a:gd name="connsiteX49" fmla="*/ 0 w 12192417"/>
              <a:gd name="connsiteY49" fmla="*/ 5095933 h 5095933"/>
              <a:gd name="connsiteX50" fmla="*/ 0 w 12192417"/>
              <a:gd name="connsiteY50" fmla="*/ 2791958 h 5095933"/>
              <a:gd name="connsiteX51" fmla="*/ 0 w 12192417"/>
              <a:gd name="connsiteY51" fmla="*/ 2162231 h 509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2192417" h="5095933">
                <a:moveTo>
                  <a:pt x="0" y="0"/>
                </a:moveTo>
                <a:lnTo>
                  <a:pt x="71931" y="12261"/>
                </a:lnTo>
                <a:lnTo>
                  <a:pt x="282848" y="48343"/>
                </a:lnTo>
                <a:lnTo>
                  <a:pt x="436463" y="73565"/>
                </a:lnTo>
                <a:lnTo>
                  <a:pt x="619338" y="100188"/>
                </a:lnTo>
                <a:lnTo>
                  <a:pt x="836350" y="132066"/>
                </a:lnTo>
                <a:lnTo>
                  <a:pt x="1076527" y="165696"/>
                </a:lnTo>
                <a:lnTo>
                  <a:pt x="1347183" y="201077"/>
                </a:lnTo>
                <a:lnTo>
                  <a:pt x="1642222" y="238560"/>
                </a:lnTo>
                <a:lnTo>
                  <a:pt x="1962863" y="276043"/>
                </a:lnTo>
                <a:lnTo>
                  <a:pt x="2304231" y="314227"/>
                </a:lnTo>
                <a:lnTo>
                  <a:pt x="2672420" y="349608"/>
                </a:lnTo>
                <a:lnTo>
                  <a:pt x="3057677" y="383588"/>
                </a:lnTo>
                <a:lnTo>
                  <a:pt x="3464880" y="414415"/>
                </a:lnTo>
                <a:lnTo>
                  <a:pt x="3889151" y="443841"/>
                </a:lnTo>
                <a:lnTo>
                  <a:pt x="4331709" y="471515"/>
                </a:lnTo>
                <a:lnTo>
                  <a:pt x="4558475" y="481324"/>
                </a:lnTo>
                <a:lnTo>
                  <a:pt x="4790117" y="492183"/>
                </a:lnTo>
                <a:lnTo>
                  <a:pt x="5025417" y="502342"/>
                </a:lnTo>
                <a:lnTo>
                  <a:pt x="5261936" y="508998"/>
                </a:lnTo>
                <a:lnTo>
                  <a:pt x="5503331" y="514953"/>
                </a:lnTo>
                <a:lnTo>
                  <a:pt x="5747166" y="521259"/>
                </a:lnTo>
                <a:lnTo>
                  <a:pt x="5995876" y="525463"/>
                </a:lnTo>
                <a:lnTo>
                  <a:pt x="6247025" y="525463"/>
                </a:lnTo>
                <a:lnTo>
                  <a:pt x="6500612" y="527565"/>
                </a:lnTo>
                <a:lnTo>
                  <a:pt x="6756638" y="525463"/>
                </a:lnTo>
                <a:lnTo>
                  <a:pt x="7016321" y="521259"/>
                </a:lnTo>
                <a:lnTo>
                  <a:pt x="7276004" y="517406"/>
                </a:lnTo>
                <a:lnTo>
                  <a:pt x="7539344" y="508998"/>
                </a:lnTo>
                <a:lnTo>
                  <a:pt x="7805123" y="500241"/>
                </a:lnTo>
                <a:lnTo>
                  <a:pt x="8070902" y="490082"/>
                </a:lnTo>
                <a:lnTo>
                  <a:pt x="8339120" y="475719"/>
                </a:lnTo>
                <a:lnTo>
                  <a:pt x="8609775" y="458554"/>
                </a:lnTo>
                <a:lnTo>
                  <a:pt x="8881650" y="442089"/>
                </a:lnTo>
                <a:lnTo>
                  <a:pt x="9153525" y="421071"/>
                </a:lnTo>
                <a:lnTo>
                  <a:pt x="9429057" y="395849"/>
                </a:lnTo>
                <a:lnTo>
                  <a:pt x="9700932" y="370626"/>
                </a:lnTo>
                <a:lnTo>
                  <a:pt x="9977683" y="341551"/>
                </a:lnTo>
                <a:lnTo>
                  <a:pt x="10255654" y="309673"/>
                </a:lnTo>
                <a:lnTo>
                  <a:pt x="10529967" y="276043"/>
                </a:lnTo>
                <a:lnTo>
                  <a:pt x="10807938" y="236809"/>
                </a:lnTo>
                <a:lnTo>
                  <a:pt x="11084689" y="194772"/>
                </a:lnTo>
                <a:lnTo>
                  <a:pt x="11362660" y="153085"/>
                </a:lnTo>
                <a:lnTo>
                  <a:pt x="11639411" y="104392"/>
                </a:lnTo>
                <a:lnTo>
                  <a:pt x="11914944" y="54648"/>
                </a:lnTo>
                <a:lnTo>
                  <a:pt x="12191695" y="2452"/>
                </a:lnTo>
                <a:lnTo>
                  <a:pt x="12191695" y="2162231"/>
                </a:lnTo>
                <a:lnTo>
                  <a:pt x="12192417" y="2162231"/>
                </a:lnTo>
                <a:lnTo>
                  <a:pt x="12192417" y="5095933"/>
                </a:lnTo>
                <a:lnTo>
                  <a:pt x="0" y="5095933"/>
                </a:lnTo>
                <a:lnTo>
                  <a:pt x="0" y="2791958"/>
                </a:lnTo>
                <a:lnTo>
                  <a:pt x="0" y="2162231"/>
                </a:lnTo>
                <a:close/>
              </a:path>
            </a:pathLst>
          </a:custGeom>
          <a:ln>
            <a:noFill/>
          </a:ln>
        </p:spPr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52DEB6-587F-4410-838F-3EA0BE6739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3312" y="452718"/>
            <a:ext cx="8947522" cy="1400530"/>
          </a:xfrm>
        </p:spPr>
        <p:txBody>
          <a:bodyPr anchor="ctr">
            <a:normAutofit/>
          </a:bodyPr>
          <a:lstStyle/>
          <a:p>
            <a:r>
              <a:rPr lang="en-US">
                <a:solidFill>
                  <a:srgbClr val="FFFFFF"/>
                </a:solidFill>
              </a:rPr>
              <a:t>Patch Management - Ivanti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BC1A9CC-6725-4C7F-9134-52C881E21627}"/>
              </a:ext>
            </a:extLst>
          </p:cNvPr>
          <p:cNvSpPr txBox="1"/>
          <p:nvPr/>
        </p:nvSpPr>
        <p:spPr>
          <a:xfrm>
            <a:off x="374552" y="3429000"/>
            <a:ext cx="369524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Windows and Linux patch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Repor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Ability to run tasks remote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Automated schedu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Roll back and exclusions</a:t>
            </a:r>
          </a:p>
        </p:txBody>
      </p:sp>
      <p:pic>
        <p:nvPicPr>
          <p:cNvPr id="11" name="Content Placeholder 7">
            <a:extLst>
              <a:ext uri="{FF2B5EF4-FFF2-40B4-BE49-F238E27FC236}">
                <a16:creationId xmlns:a16="http://schemas.microsoft.com/office/drawing/2014/main" id="{74D509AF-3EF4-45DE-9A1E-C2000E81633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269933" y="2902890"/>
            <a:ext cx="6547515" cy="3245361"/>
          </a:xfrm>
        </p:spPr>
      </p:pic>
    </p:spTree>
    <p:extLst>
      <p:ext uri="{BB962C8B-B14F-4D97-AF65-F5344CB8AC3E}">
        <p14:creationId xmlns:p14="http://schemas.microsoft.com/office/powerpoint/2010/main" val="24535310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74CD14DB-BB81-479F-A1FC-1C75640E9F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C943A91B-7CA7-4592-A975-73B1BF8C4C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EC471314-E46A-414B-8D91-74880E84F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719939" y="1460230"/>
            <a:ext cx="3472060" cy="825932"/>
          </a:xfrm>
          <a:custGeom>
            <a:avLst/>
            <a:gdLst>
              <a:gd name="connsiteX0" fmla="*/ 3470310 w 3472060"/>
              <a:gd name="connsiteY0" fmla="*/ 0 h 825932"/>
              <a:gd name="connsiteX1" fmla="*/ 3472060 w 3472060"/>
              <a:gd name="connsiteY1" fmla="*/ 12850 h 825932"/>
              <a:gd name="connsiteX2" fmla="*/ 3472060 w 3472060"/>
              <a:gd name="connsiteY2" fmla="*/ 480529 h 825932"/>
              <a:gd name="connsiteX3" fmla="*/ 3363699 w 3472060"/>
              <a:gd name="connsiteY3" fmla="*/ 498471 h 825932"/>
              <a:gd name="connsiteX4" fmla="*/ 42060 w 3472060"/>
              <a:gd name="connsiteY4" fmla="*/ 824486 h 825932"/>
              <a:gd name="connsiteX5" fmla="*/ 0 w 3472060"/>
              <a:gd name="connsiteY5" fmla="*/ 758452 h 825932"/>
              <a:gd name="connsiteX6" fmla="*/ 188014 w 3472060"/>
              <a:gd name="connsiteY6" fmla="*/ 735602 h 825932"/>
              <a:gd name="connsiteX7" fmla="*/ 284087 w 3472060"/>
              <a:gd name="connsiteY7" fmla="*/ 722590 h 825932"/>
              <a:gd name="connsiteX8" fmla="*/ 382288 w 3472060"/>
              <a:gd name="connsiteY8" fmla="*/ 709392 h 825932"/>
              <a:gd name="connsiteX9" fmla="*/ 481858 w 3472060"/>
              <a:gd name="connsiteY9" fmla="*/ 695774 h 825932"/>
              <a:gd name="connsiteX10" fmla="*/ 581897 w 3472060"/>
              <a:gd name="connsiteY10" fmla="*/ 680711 h 825932"/>
              <a:gd name="connsiteX11" fmla="*/ 683670 w 3472060"/>
              <a:gd name="connsiteY11" fmla="*/ 665256 h 825932"/>
              <a:gd name="connsiteX12" fmla="*/ 787206 w 3472060"/>
              <a:gd name="connsiteY12" fmla="*/ 649587 h 825932"/>
              <a:gd name="connsiteX13" fmla="*/ 892019 w 3472060"/>
              <a:gd name="connsiteY13" fmla="*/ 632968 h 825932"/>
              <a:gd name="connsiteX14" fmla="*/ 997620 w 3472060"/>
              <a:gd name="connsiteY14" fmla="*/ 614667 h 825932"/>
              <a:gd name="connsiteX15" fmla="*/ 1104727 w 3472060"/>
              <a:gd name="connsiteY15" fmla="*/ 596741 h 825932"/>
              <a:gd name="connsiteX16" fmla="*/ 1212669 w 3472060"/>
              <a:gd name="connsiteY16" fmla="*/ 577397 h 825932"/>
              <a:gd name="connsiteX17" fmla="*/ 1321506 w 3472060"/>
              <a:gd name="connsiteY17" fmla="*/ 556988 h 825932"/>
              <a:gd name="connsiteX18" fmla="*/ 1430709 w 3472060"/>
              <a:gd name="connsiteY18" fmla="*/ 536607 h 825932"/>
              <a:gd name="connsiteX19" fmla="*/ 1541050 w 3472060"/>
              <a:gd name="connsiteY19" fmla="*/ 514481 h 825932"/>
              <a:gd name="connsiteX20" fmla="*/ 1652805 w 3472060"/>
              <a:gd name="connsiteY20" fmla="*/ 492202 h 825932"/>
              <a:gd name="connsiteX21" fmla="*/ 1763708 w 3472060"/>
              <a:gd name="connsiteY21" fmla="*/ 469161 h 825932"/>
              <a:gd name="connsiteX22" fmla="*/ 1875795 w 3472060"/>
              <a:gd name="connsiteY22" fmla="*/ 444641 h 825932"/>
              <a:gd name="connsiteX23" fmla="*/ 1989128 w 3472060"/>
              <a:gd name="connsiteY23" fmla="*/ 418995 h 825932"/>
              <a:gd name="connsiteX24" fmla="*/ 2102476 w 3472060"/>
              <a:gd name="connsiteY24" fmla="*/ 393438 h 825932"/>
              <a:gd name="connsiteX25" fmla="*/ 2215549 w 3472060"/>
              <a:gd name="connsiteY25" fmla="*/ 366291 h 825932"/>
              <a:gd name="connsiteX26" fmla="*/ 2330490 w 3472060"/>
              <a:gd name="connsiteY26" fmla="*/ 337455 h 825932"/>
              <a:gd name="connsiteX27" fmla="*/ 2443333 w 3472060"/>
              <a:gd name="connsiteY27" fmla="*/ 308983 h 825932"/>
              <a:gd name="connsiteX28" fmla="*/ 2558014 w 3472060"/>
              <a:gd name="connsiteY28" fmla="*/ 278646 h 825932"/>
              <a:gd name="connsiteX29" fmla="*/ 2673621 w 3472060"/>
              <a:gd name="connsiteY29" fmla="*/ 247421 h 825932"/>
              <a:gd name="connsiteX30" fmla="*/ 2787008 w 3472060"/>
              <a:gd name="connsiteY30" fmla="*/ 215853 h 825932"/>
              <a:gd name="connsiteX31" fmla="*/ 2901442 w 3472060"/>
              <a:gd name="connsiteY31" fmla="*/ 182011 h 825932"/>
              <a:gd name="connsiteX32" fmla="*/ 3015722 w 3472060"/>
              <a:gd name="connsiteY32" fmla="*/ 147286 h 825932"/>
              <a:gd name="connsiteX33" fmla="*/ 3130018 w 3472060"/>
              <a:gd name="connsiteY33" fmla="*/ 112649 h 825932"/>
              <a:gd name="connsiteX34" fmla="*/ 3243551 w 3472060"/>
              <a:gd name="connsiteY34" fmla="*/ 75688 h 825932"/>
              <a:gd name="connsiteX35" fmla="*/ 3356992 w 3472060"/>
              <a:gd name="connsiteY35" fmla="*/ 38197 h 825932"/>
              <a:gd name="connsiteX36" fmla="*/ 3470310 w 3472060"/>
              <a:gd name="connsiteY36" fmla="*/ 0 h 825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472060" h="825932">
                <a:moveTo>
                  <a:pt x="3470310" y="0"/>
                </a:moveTo>
                <a:lnTo>
                  <a:pt x="3472060" y="12850"/>
                </a:lnTo>
                <a:lnTo>
                  <a:pt x="3472060" y="480529"/>
                </a:lnTo>
                <a:lnTo>
                  <a:pt x="3363699" y="498471"/>
                </a:lnTo>
                <a:cubicBezTo>
                  <a:pt x="2435623" y="645518"/>
                  <a:pt x="603076" y="844866"/>
                  <a:pt x="42060" y="824486"/>
                </a:cubicBezTo>
                <a:cubicBezTo>
                  <a:pt x="28151" y="802425"/>
                  <a:pt x="13909" y="780513"/>
                  <a:pt x="0" y="758452"/>
                </a:cubicBezTo>
                <a:lnTo>
                  <a:pt x="188014" y="735602"/>
                </a:lnTo>
                <a:lnTo>
                  <a:pt x="284087" y="722590"/>
                </a:lnTo>
                <a:lnTo>
                  <a:pt x="382288" y="709392"/>
                </a:lnTo>
                <a:lnTo>
                  <a:pt x="481858" y="695774"/>
                </a:lnTo>
                <a:lnTo>
                  <a:pt x="581897" y="680711"/>
                </a:lnTo>
                <a:lnTo>
                  <a:pt x="683670" y="665256"/>
                </a:lnTo>
                <a:lnTo>
                  <a:pt x="787206" y="649587"/>
                </a:lnTo>
                <a:lnTo>
                  <a:pt x="892019" y="632968"/>
                </a:lnTo>
                <a:lnTo>
                  <a:pt x="997620" y="614667"/>
                </a:lnTo>
                <a:lnTo>
                  <a:pt x="1104727" y="596741"/>
                </a:lnTo>
                <a:lnTo>
                  <a:pt x="1212669" y="577397"/>
                </a:lnTo>
                <a:lnTo>
                  <a:pt x="1321506" y="556988"/>
                </a:lnTo>
                <a:lnTo>
                  <a:pt x="1430709" y="536607"/>
                </a:lnTo>
                <a:lnTo>
                  <a:pt x="1541050" y="514481"/>
                </a:lnTo>
                <a:lnTo>
                  <a:pt x="1652805" y="492202"/>
                </a:lnTo>
                <a:lnTo>
                  <a:pt x="1763708" y="469161"/>
                </a:lnTo>
                <a:lnTo>
                  <a:pt x="1875795" y="444641"/>
                </a:lnTo>
                <a:lnTo>
                  <a:pt x="1989128" y="418995"/>
                </a:lnTo>
                <a:lnTo>
                  <a:pt x="2102476" y="393438"/>
                </a:lnTo>
                <a:lnTo>
                  <a:pt x="2215549" y="366291"/>
                </a:lnTo>
                <a:lnTo>
                  <a:pt x="2330490" y="337455"/>
                </a:lnTo>
                <a:lnTo>
                  <a:pt x="2443333" y="308983"/>
                </a:lnTo>
                <a:lnTo>
                  <a:pt x="2558014" y="278646"/>
                </a:lnTo>
                <a:lnTo>
                  <a:pt x="2673621" y="247421"/>
                </a:lnTo>
                <a:lnTo>
                  <a:pt x="2787008" y="215853"/>
                </a:lnTo>
                <a:lnTo>
                  <a:pt x="2901442" y="182011"/>
                </a:lnTo>
                <a:lnTo>
                  <a:pt x="3015722" y="147286"/>
                </a:lnTo>
                <a:lnTo>
                  <a:pt x="3130018" y="112649"/>
                </a:lnTo>
                <a:lnTo>
                  <a:pt x="3243551" y="75688"/>
                </a:lnTo>
                <a:lnTo>
                  <a:pt x="3356992" y="38197"/>
                </a:lnTo>
                <a:lnTo>
                  <a:pt x="347031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 useBgFill="1">
        <p:nvSpPr>
          <p:cNvPr id="9" name="Freeform: Shape 13">
            <a:extLst>
              <a:ext uri="{FF2B5EF4-FFF2-40B4-BE49-F238E27FC236}">
                <a16:creationId xmlns:a16="http://schemas.microsoft.com/office/drawing/2014/main" id="{6A681326-1C9D-44A3-A627-3871BDAE41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1" y="1762067"/>
            <a:ext cx="12192417" cy="5095933"/>
          </a:xfrm>
          <a:custGeom>
            <a:avLst/>
            <a:gdLst>
              <a:gd name="connsiteX0" fmla="*/ 0 w 12192417"/>
              <a:gd name="connsiteY0" fmla="*/ 0 h 5095933"/>
              <a:gd name="connsiteX1" fmla="*/ 71931 w 12192417"/>
              <a:gd name="connsiteY1" fmla="*/ 12261 h 5095933"/>
              <a:gd name="connsiteX2" fmla="*/ 282848 w 12192417"/>
              <a:gd name="connsiteY2" fmla="*/ 48343 h 5095933"/>
              <a:gd name="connsiteX3" fmla="*/ 436463 w 12192417"/>
              <a:gd name="connsiteY3" fmla="*/ 73565 h 5095933"/>
              <a:gd name="connsiteX4" fmla="*/ 619338 w 12192417"/>
              <a:gd name="connsiteY4" fmla="*/ 100188 h 5095933"/>
              <a:gd name="connsiteX5" fmla="*/ 836350 w 12192417"/>
              <a:gd name="connsiteY5" fmla="*/ 132066 h 5095933"/>
              <a:gd name="connsiteX6" fmla="*/ 1076527 w 12192417"/>
              <a:gd name="connsiteY6" fmla="*/ 165696 h 5095933"/>
              <a:gd name="connsiteX7" fmla="*/ 1347183 w 12192417"/>
              <a:gd name="connsiteY7" fmla="*/ 201077 h 5095933"/>
              <a:gd name="connsiteX8" fmla="*/ 1642222 w 12192417"/>
              <a:gd name="connsiteY8" fmla="*/ 238560 h 5095933"/>
              <a:gd name="connsiteX9" fmla="*/ 1962863 w 12192417"/>
              <a:gd name="connsiteY9" fmla="*/ 276043 h 5095933"/>
              <a:gd name="connsiteX10" fmla="*/ 2304231 w 12192417"/>
              <a:gd name="connsiteY10" fmla="*/ 314227 h 5095933"/>
              <a:gd name="connsiteX11" fmla="*/ 2672420 w 12192417"/>
              <a:gd name="connsiteY11" fmla="*/ 349608 h 5095933"/>
              <a:gd name="connsiteX12" fmla="*/ 3057677 w 12192417"/>
              <a:gd name="connsiteY12" fmla="*/ 383588 h 5095933"/>
              <a:gd name="connsiteX13" fmla="*/ 3464880 w 12192417"/>
              <a:gd name="connsiteY13" fmla="*/ 414415 h 5095933"/>
              <a:gd name="connsiteX14" fmla="*/ 3889151 w 12192417"/>
              <a:gd name="connsiteY14" fmla="*/ 443841 h 5095933"/>
              <a:gd name="connsiteX15" fmla="*/ 4331709 w 12192417"/>
              <a:gd name="connsiteY15" fmla="*/ 471515 h 5095933"/>
              <a:gd name="connsiteX16" fmla="*/ 4558475 w 12192417"/>
              <a:gd name="connsiteY16" fmla="*/ 481324 h 5095933"/>
              <a:gd name="connsiteX17" fmla="*/ 4790117 w 12192417"/>
              <a:gd name="connsiteY17" fmla="*/ 492183 h 5095933"/>
              <a:gd name="connsiteX18" fmla="*/ 5025417 w 12192417"/>
              <a:gd name="connsiteY18" fmla="*/ 502342 h 5095933"/>
              <a:gd name="connsiteX19" fmla="*/ 5261936 w 12192417"/>
              <a:gd name="connsiteY19" fmla="*/ 508998 h 5095933"/>
              <a:gd name="connsiteX20" fmla="*/ 5503331 w 12192417"/>
              <a:gd name="connsiteY20" fmla="*/ 514953 h 5095933"/>
              <a:gd name="connsiteX21" fmla="*/ 5747166 w 12192417"/>
              <a:gd name="connsiteY21" fmla="*/ 521259 h 5095933"/>
              <a:gd name="connsiteX22" fmla="*/ 5995876 w 12192417"/>
              <a:gd name="connsiteY22" fmla="*/ 525463 h 5095933"/>
              <a:gd name="connsiteX23" fmla="*/ 6247025 w 12192417"/>
              <a:gd name="connsiteY23" fmla="*/ 525463 h 5095933"/>
              <a:gd name="connsiteX24" fmla="*/ 6500612 w 12192417"/>
              <a:gd name="connsiteY24" fmla="*/ 527565 h 5095933"/>
              <a:gd name="connsiteX25" fmla="*/ 6756638 w 12192417"/>
              <a:gd name="connsiteY25" fmla="*/ 525463 h 5095933"/>
              <a:gd name="connsiteX26" fmla="*/ 7016321 w 12192417"/>
              <a:gd name="connsiteY26" fmla="*/ 521259 h 5095933"/>
              <a:gd name="connsiteX27" fmla="*/ 7276004 w 12192417"/>
              <a:gd name="connsiteY27" fmla="*/ 517406 h 5095933"/>
              <a:gd name="connsiteX28" fmla="*/ 7539344 w 12192417"/>
              <a:gd name="connsiteY28" fmla="*/ 508998 h 5095933"/>
              <a:gd name="connsiteX29" fmla="*/ 7805123 w 12192417"/>
              <a:gd name="connsiteY29" fmla="*/ 500241 h 5095933"/>
              <a:gd name="connsiteX30" fmla="*/ 8070902 w 12192417"/>
              <a:gd name="connsiteY30" fmla="*/ 490082 h 5095933"/>
              <a:gd name="connsiteX31" fmla="*/ 8339120 w 12192417"/>
              <a:gd name="connsiteY31" fmla="*/ 475719 h 5095933"/>
              <a:gd name="connsiteX32" fmla="*/ 8609775 w 12192417"/>
              <a:gd name="connsiteY32" fmla="*/ 458554 h 5095933"/>
              <a:gd name="connsiteX33" fmla="*/ 8881650 w 12192417"/>
              <a:gd name="connsiteY33" fmla="*/ 442089 h 5095933"/>
              <a:gd name="connsiteX34" fmla="*/ 9153525 w 12192417"/>
              <a:gd name="connsiteY34" fmla="*/ 421071 h 5095933"/>
              <a:gd name="connsiteX35" fmla="*/ 9429057 w 12192417"/>
              <a:gd name="connsiteY35" fmla="*/ 395849 h 5095933"/>
              <a:gd name="connsiteX36" fmla="*/ 9700932 w 12192417"/>
              <a:gd name="connsiteY36" fmla="*/ 370626 h 5095933"/>
              <a:gd name="connsiteX37" fmla="*/ 9977683 w 12192417"/>
              <a:gd name="connsiteY37" fmla="*/ 341551 h 5095933"/>
              <a:gd name="connsiteX38" fmla="*/ 10255654 w 12192417"/>
              <a:gd name="connsiteY38" fmla="*/ 309673 h 5095933"/>
              <a:gd name="connsiteX39" fmla="*/ 10529967 w 12192417"/>
              <a:gd name="connsiteY39" fmla="*/ 276043 h 5095933"/>
              <a:gd name="connsiteX40" fmla="*/ 10807938 w 12192417"/>
              <a:gd name="connsiteY40" fmla="*/ 236809 h 5095933"/>
              <a:gd name="connsiteX41" fmla="*/ 11084689 w 12192417"/>
              <a:gd name="connsiteY41" fmla="*/ 194772 h 5095933"/>
              <a:gd name="connsiteX42" fmla="*/ 11362660 w 12192417"/>
              <a:gd name="connsiteY42" fmla="*/ 153085 h 5095933"/>
              <a:gd name="connsiteX43" fmla="*/ 11639411 w 12192417"/>
              <a:gd name="connsiteY43" fmla="*/ 104392 h 5095933"/>
              <a:gd name="connsiteX44" fmla="*/ 11914944 w 12192417"/>
              <a:gd name="connsiteY44" fmla="*/ 54648 h 5095933"/>
              <a:gd name="connsiteX45" fmla="*/ 12191695 w 12192417"/>
              <a:gd name="connsiteY45" fmla="*/ 2452 h 5095933"/>
              <a:gd name="connsiteX46" fmla="*/ 12191695 w 12192417"/>
              <a:gd name="connsiteY46" fmla="*/ 2162231 h 5095933"/>
              <a:gd name="connsiteX47" fmla="*/ 12192417 w 12192417"/>
              <a:gd name="connsiteY47" fmla="*/ 2162231 h 5095933"/>
              <a:gd name="connsiteX48" fmla="*/ 12192417 w 12192417"/>
              <a:gd name="connsiteY48" fmla="*/ 5095933 h 5095933"/>
              <a:gd name="connsiteX49" fmla="*/ 0 w 12192417"/>
              <a:gd name="connsiteY49" fmla="*/ 5095933 h 5095933"/>
              <a:gd name="connsiteX50" fmla="*/ 0 w 12192417"/>
              <a:gd name="connsiteY50" fmla="*/ 2791958 h 5095933"/>
              <a:gd name="connsiteX51" fmla="*/ 0 w 12192417"/>
              <a:gd name="connsiteY51" fmla="*/ 2162231 h 509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2192417" h="5095933">
                <a:moveTo>
                  <a:pt x="0" y="0"/>
                </a:moveTo>
                <a:lnTo>
                  <a:pt x="71931" y="12261"/>
                </a:lnTo>
                <a:lnTo>
                  <a:pt x="282848" y="48343"/>
                </a:lnTo>
                <a:lnTo>
                  <a:pt x="436463" y="73565"/>
                </a:lnTo>
                <a:lnTo>
                  <a:pt x="619338" y="100188"/>
                </a:lnTo>
                <a:lnTo>
                  <a:pt x="836350" y="132066"/>
                </a:lnTo>
                <a:lnTo>
                  <a:pt x="1076527" y="165696"/>
                </a:lnTo>
                <a:lnTo>
                  <a:pt x="1347183" y="201077"/>
                </a:lnTo>
                <a:lnTo>
                  <a:pt x="1642222" y="238560"/>
                </a:lnTo>
                <a:lnTo>
                  <a:pt x="1962863" y="276043"/>
                </a:lnTo>
                <a:lnTo>
                  <a:pt x="2304231" y="314227"/>
                </a:lnTo>
                <a:lnTo>
                  <a:pt x="2672420" y="349608"/>
                </a:lnTo>
                <a:lnTo>
                  <a:pt x="3057677" y="383588"/>
                </a:lnTo>
                <a:lnTo>
                  <a:pt x="3464880" y="414415"/>
                </a:lnTo>
                <a:lnTo>
                  <a:pt x="3889151" y="443841"/>
                </a:lnTo>
                <a:lnTo>
                  <a:pt x="4331709" y="471515"/>
                </a:lnTo>
                <a:lnTo>
                  <a:pt x="4558475" y="481324"/>
                </a:lnTo>
                <a:lnTo>
                  <a:pt x="4790117" y="492183"/>
                </a:lnTo>
                <a:lnTo>
                  <a:pt x="5025417" y="502342"/>
                </a:lnTo>
                <a:lnTo>
                  <a:pt x="5261936" y="508998"/>
                </a:lnTo>
                <a:lnTo>
                  <a:pt x="5503331" y="514953"/>
                </a:lnTo>
                <a:lnTo>
                  <a:pt x="5747166" y="521259"/>
                </a:lnTo>
                <a:lnTo>
                  <a:pt x="5995876" y="525463"/>
                </a:lnTo>
                <a:lnTo>
                  <a:pt x="6247025" y="525463"/>
                </a:lnTo>
                <a:lnTo>
                  <a:pt x="6500612" y="527565"/>
                </a:lnTo>
                <a:lnTo>
                  <a:pt x="6756638" y="525463"/>
                </a:lnTo>
                <a:lnTo>
                  <a:pt x="7016321" y="521259"/>
                </a:lnTo>
                <a:lnTo>
                  <a:pt x="7276004" y="517406"/>
                </a:lnTo>
                <a:lnTo>
                  <a:pt x="7539344" y="508998"/>
                </a:lnTo>
                <a:lnTo>
                  <a:pt x="7805123" y="500241"/>
                </a:lnTo>
                <a:lnTo>
                  <a:pt x="8070902" y="490082"/>
                </a:lnTo>
                <a:lnTo>
                  <a:pt x="8339120" y="475719"/>
                </a:lnTo>
                <a:lnTo>
                  <a:pt x="8609775" y="458554"/>
                </a:lnTo>
                <a:lnTo>
                  <a:pt x="8881650" y="442089"/>
                </a:lnTo>
                <a:lnTo>
                  <a:pt x="9153525" y="421071"/>
                </a:lnTo>
                <a:lnTo>
                  <a:pt x="9429057" y="395849"/>
                </a:lnTo>
                <a:lnTo>
                  <a:pt x="9700932" y="370626"/>
                </a:lnTo>
                <a:lnTo>
                  <a:pt x="9977683" y="341551"/>
                </a:lnTo>
                <a:lnTo>
                  <a:pt x="10255654" y="309673"/>
                </a:lnTo>
                <a:lnTo>
                  <a:pt x="10529967" y="276043"/>
                </a:lnTo>
                <a:lnTo>
                  <a:pt x="10807938" y="236809"/>
                </a:lnTo>
                <a:lnTo>
                  <a:pt x="11084689" y="194772"/>
                </a:lnTo>
                <a:lnTo>
                  <a:pt x="11362660" y="153085"/>
                </a:lnTo>
                <a:lnTo>
                  <a:pt x="11639411" y="104392"/>
                </a:lnTo>
                <a:lnTo>
                  <a:pt x="11914944" y="54648"/>
                </a:lnTo>
                <a:lnTo>
                  <a:pt x="12191695" y="2452"/>
                </a:lnTo>
                <a:lnTo>
                  <a:pt x="12191695" y="2162231"/>
                </a:lnTo>
                <a:lnTo>
                  <a:pt x="12192417" y="2162231"/>
                </a:lnTo>
                <a:lnTo>
                  <a:pt x="12192417" y="5095933"/>
                </a:lnTo>
                <a:lnTo>
                  <a:pt x="0" y="5095933"/>
                </a:lnTo>
                <a:lnTo>
                  <a:pt x="0" y="2791958"/>
                </a:lnTo>
                <a:lnTo>
                  <a:pt x="0" y="2162231"/>
                </a:lnTo>
                <a:close/>
              </a:path>
            </a:pathLst>
          </a:custGeom>
          <a:ln>
            <a:noFill/>
          </a:ln>
        </p:spPr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52DEB6-587F-4410-838F-3EA0BE6739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3312" y="452718"/>
            <a:ext cx="8947522" cy="1400530"/>
          </a:xfrm>
        </p:spPr>
        <p:txBody>
          <a:bodyPr anchor="ctr">
            <a:normAutofit/>
          </a:bodyPr>
          <a:lstStyle/>
          <a:p>
            <a:r>
              <a:rPr lang="en-US">
                <a:solidFill>
                  <a:srgbClr val="FFFFFF"/>
                </a:solidFill>
              </a:rPr>
              <a:t>Vulnerability Scanning - Qualys</a:t>
            </a:r>
          </a:p>
        </p:txBody>
      </p:sp>
      <p:pic>
        <p:nvPicPr>
          <p:cNvPr id="12" name="Picture 11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C4C1F9C5-B36B-43DD-B6D9-E559AE6BC6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0080" y="2665526"/>
            <a:ext cx="5640632" cy="356432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0325E80-61D6-4285-9DDD-62C3972F7D39}"/>
              </a:ext>
            </a:extLst>
          </p:cNvPr>
          <p:cNvSpPr txBox="1"/>
          <p:nvPr/>
        </p:nvSpPr>
        <p:spPr>
          <a:xfrm>
            <a:off x="384180" y="3417252"/>
            <a:ext cx="475548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>
                <a:latin typeface="+mn-lt"/>
              </a:rPr>
              <a:t>Discover and assess vulnerabilities in real t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>
                <a:latin typeface="+mn-lt"/>
              </a:rPr>
              <a:t>Prioritization of vulnerabil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Repor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>
                <a:latin typeface="+mn-lt"/>
              </a:rPr>
              <a:t>Combined efforts of </a:t>
            </a:r>
            <a:r>
              <a:rPr lang="en-US" sz="1800" err="1">
                <a:latin typeface="+mn-lt"/>
              </a:rPr>
              <a:t>SEaaS</a:t>
            </a:r>
            <a:r>
              <a:rPr lang="en-US" sz="1800">
                <a:latin typeface="+mn-lt"/>
              </a:rPr>
              <a:t> and Security teams</a:t>
            </a:r>
          </a:p>
        </p:txBody>
      </p:sp>
    </p:spTree>
    <p:extLst>
      <p:ext uri="{BB962C8B-B14F-4D97-AF65-F5344CB8AC3E}">
        <p14:creationId xmlns:p14="http://schemas.microsoft.com/office/powerpoint/2010/main" val="20469860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74CD14DB-BB81-479F-A1FC-1C75640E9F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C943A91B-7CA7-4592-A975-73B1BF8C4C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EC471314-E46A-414B-8D91-74880E84F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719939" y="1460230"/>
            <a:ext cx="3472060" cy="825932"/>
          </a:xfrm>
          <a:custGeom>
            <a:avLst/>
            <a:gdLst>
              <a:gd name="connsiteX0" fmla="*/ 3470310 w 3472060"/>
              <a:gd name="connsiteY0" fmla="*/ 0 h 825932"/>
              <a:gd name="connsiteX1" fmla="*/ 3472060 w 3472060"/>
              <a:gd name="connsiteY1" fmla="*/ 12850 h 825932"/>
              <a:gd name="connsiteX2" fmla="*/ 3472060 w 3472060"/>
              <a:gd name="connsiteY2" fmla="*/ 480529 h 825932"/>
              <a:gd name="connsiteX3" fmla="*/ 3363699 w 3472060"/>
              <a:gd name="connsiteY3" fmla="*/ 498471 h 825932"/>
              <a:gd name="connsiteX4" fmla="*/ 42060 w 3472060"/>
              <a:gd name="connsiteY4" fmla="*/ 824486 h 825932"/>
              <a:gd name="connsiteX5" fmla="*/ 0 w 3472060"/>
              <a:gd name="connsiteY5" fmla="*/ 758452 h 825932"/>
              <a:gd name="connsiteX6" fmla="*/ 188014 w 3472060"/>
              <a:gd name="connsiteY6" fmla="*/ 735602 h 825932"/>
              <a:gd name="connsiteX7" fmla="*/ 284087 w 3472060"/>
              <a:gd name="connsiteY7" fmla="*/ 722590 h 825932"/>
              <a:gd name="connsiteX8" fmla="*/ 382288 w 3472060"/>
              <a:gd name="connsiteY8" fmla="*/ 709392 h 825932"/>
              <a:gd name="connsiteX9" fmla="*/ 481858 w 3472060"/>
              <a:gd name="connsiteY9" fmla="*/ 695774 h 825932"/>
              <a:gd name="connsiteX10" fmla="*/ 581897 w 3472060"/>
              <a:gd name="connsiteY10" fmla="*/ 680711 h 825932"/>
              <a:gd name="connsiteX11" fmla="*/ 683670 w 3472060"/>
              <a:gd name="connsiteY11" fmla="*/ 665256 h 825932"/>
              <a:gd name="connsiteX12" fmla="*/ 787206 w 3472060"/>
              <a:gd name="connsiteY12" fmla="*/ 649587 h 825932"/>
              <a:gd name="connsiteX13" fmla="*/ 892019 w 3472060"/>
              <a:gd name="connsiteY13" fmla="*/ 632968 h 825932"/>
              <a:gd name="connsiteX14" fmla="*/ 997620 w 3472060"/>
              <a:gd name="connsiteY14" fmla="*/ 614667 h 825932"/>
              <a:gd name="connsiteX15" fmla="*/ 1104727 w 3472060"/>
              <a:gd name="connsiteY15" fmla="*/ 596741 h 825932"/>
              <a:gd name="connsiteX16" fmla="*/ 1212669 w 3472060"/>
              <a:gd name="connsiteY16" fmla="*/ 577397 h 825932"/>
              <a:gd name="connsiteX17" fmla="*/ 1321506 w 3472060"/>
              <a:gd name="connsiteY17" fmla="*/ 556988 h 825932"/>
              <a:gd name="connsiteX18" fmla="*/ 1430709 w 3472060"/>
              <a:gd name="connsiteY18" fmla="*/ 536607 h 825932"/>
              <a:gd name="connsiteX19" fmla="*/ 1541050 w 3472060"/>
              <a:gd name="connsiteY19" fmla="*/ 514481 h 825932"/>
              <a:gd name="connsiteX20" fmla="*/ 1652805 w 3472060"/>
              <a:gd name="connsiteY20" fmla="*/ 492202 h 825932"/>
              <a:gd name="connsiteX21" fmla="*/ 1763708 w 3472060"/>
              <a:gd name="connsiteY21" fmla="*/ 469161 h 825932"/>
              <a:gd name="connsiteX22" fmla="*/ 1875795 w 3472060"/>
              <a:gd name="connsiteY22" fmla="*/ 444641 h 825932"/>
              <a:gd name="connsiteX23" fmla="*/ 1989128 w 3472060"/>
              <a:gd name="connsiteY23" fmla="*/ 418995 h 825932"/>
              <a:gd name="connsiteX24" fmla="*/ 2102476 w 3472060"/>
              <a:gd name="connsiteY24" fmla="*/ 393438 h 825932"/>
              <a:gd name="connsiteX25" fmla="*/ 2215549 w 3472060"/>
              <a:gd name="connsiteY25" fmla="*/ 366291 h 825932"/>
              <a:gd name="connsiteX26" fmla="*/ 2330490 w 3472060"/>
              <a:gd name="connsiteY26" fmla="*/ 337455 h 825932"/>
              <a:gd name="connsiteX27" fmla="*/ 2443333 w 3472060"/>
              <a:gd name="connsiteY27" fmla="*/ 308983 h 825932"/>
              <a:gd name="connsiteX28" fmla="*/ 2558014 w 3472060"/>
              <a:gd name="connsiteY28" fmla="*/ 278646 h 825932"/>
              <a:gd name="connsiteX29" fmla="*/ 2673621 w 3472060"/>
              <a:gd name="connsiteY29" fmla="*/ 247421 h 825932"/>
              <a:gd name="connsiteX30" fmla="*/ 2787008 w 3472060"/>
              <a:gd name="connsiteY30" fmla="*/ 215853 h 825932"/>
              <a:gd name="connsiteX31" fmla="*/ 2901442 w 3472060"/>
              <a:gd name="connsiteY31" fmla="*/ 182011 h 825932"/>
              <a:gd name="connsiteX32" fmla="*/ 3015722 w 3472060"/>
              <a:gd name="connsiteY32" fmla="*/ 147286 h 825932"/>
              <a:gd name="connsiteX33" fmla="*/ 3130018 w 3472060"/>
              <a:gd name="connsiteY33" fmla="*/ 112649 h 825932"/>
              <a:gd name="connsiteX34" fmla="*/ 3243551 w 3472060"/>
              <a:gd name="connsiteY34" fmla="*/ 75688 h 825932"/>
              <a:gd name="connsiteX35" fmla="*/ 3356992 w 3472060"/>
              <a:gd name="connsiteY35" fmla="*/ 38197 h 825932"/>
              <a:gd name="connsiteX36" fmla="*/ 3470310 w 3472060"/>
              <a:gd name="connsiteY36" fmla="*/ 0 h 825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472060" h="825932">
                <a:moveTo>
                  <a:pt x="3470310" y="0"/>
                </a:moveTo>
                <a:lnTo>
                  <a:pt x="3472060" y="12850"/>
                </a:lnTo>
                <a:lnTo>
                  <a:pt x="3472060" y="480529"/>
                </a:lnTo>
                <a:lnTo>
                  <a:pt x="3363699" y="498471"/>
                </a:lnTo>
                <a:cubicBezTo>
                  <a:pt x="2435623" y="645518"/>
                  <a:pt x="603076" y="844866"/>
                  <a:pt x="42060" y="824486"/>
                </a:cubicBezTo>
                <a:cubicBezTo>
                  <a:pt x="28151" y="802425"/>
                  <a:pt x="13909" y="780513"/>
                  <a:pt x="0" y="758452"/>
                </a:cubicBezTo>
                <a:lnTo>
                  <a:pt x="188014" y="735602"/>
                </a:lnTo>
                <a:lnTo>
                  <a:pt x="284087" y="722590"/>
                </a:lnTo>
                <a:lnTo>
                  <a:pt x="382288" y="709392"/>
                </a:lnTo>
                <a:lnTo>
                  <a:pt x="481858" y="695774"/>
                </a:lnTo>
                <a:lnTo>
                  <a:pt x="581897" y="680711"/>
                </a:lnTo>
                <a:lnTo>
                  <a:pt x="683670" y="665256"/>
                </a:lnTo>
                <a:lnTo>
                  <a:pt x="787206" y="649587"/>
                </a:lnTo>
                <a:lnTo>
                  <a:pt x="892019" y="632968"/>
                </a:lnTo>
                <a:lnTo>
                  <a:pt x="997620" y="614667"/>
                </a:lnTo>
                <a:lnTo>
                  <a:pt x="1104727" y="596741"/>
                </a:lnTo>
                <a:lnTo>
                  <a:pt x="1212669" y="577397"/>
                </a:lnTo>
                <a:lnTo>
                  <a:pt x="1321506" y="556988"/>
                </a:lnTo>
                <a:lnTo>
                  <a:pt x="1430709" y="536607"/>
                </a:lnTo>
                <a:lnTo>
                  <a:pt x="1541050" y="514481"/>
                </a:lnTo>
                <a:lnTo>
                  <a:pt x="1652805" y="492202"/>
                </a:lnTo>
                <a:lnTo>
                  <a:pt x="1763708" y="469161"/>
                </a:lnTo>
                <a:lnTo>
                  <a:pt x="1875795" y="444641"/>
                </a:lnTo>
                <a:lnTo>
                  <a:pt x="1989128" y="418995"/>
                </a:lnTo>
                <a:lnTo>
                  <a:pt x="2102476" y="393438"/>
                </a:lnTo>
                <a:lnTo>
                  <a:pt x="2215549" y="366291"/>
                </a:lnTo>
                <a:lnTo>
                  <a:pt x="2330490" y="337455"/>
                </a:lnTo>
                <a:lnTo>
                  <a:pt x="2443333" y="308983"/>
                </a:lnTo>
                <a:lnTo>
                  <a:pt x="2558014" y="278646"/>
                </a:lnTo>
                <a:lnTo>
                  <a:pt x="2673621" y="247421"/>
                </a:lnTo>
                <a:lnTo>
                  <a:pt x="2787008" y="215853"/>
                </a:lnTo>
                <a:lnTo>
                  <a:pt x="2901442" y="182011"/>
                </a:lnTo>
                <a:lnTo>
                  <a:pt x="3015722" y="147286"/>
                </a:lnTo>
                <a:lnTo>
                  <a:pt x="3130018" y="112649"/>
                </a:lnTo>
                <a:lnTo>
                  <a:pt x="3243551" y="75688"/>
                </a:lnTo>
                <a:lnTo>
                  <a:pt x="3356992" y="38197"/>
                </a:lnTo>
                <a:lnTo>
                  <a:pt x="347031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 useBgFill="1">
        <p:nvSpPr>
          <p:cNvPr id="9" name="Freeform: Shape 13">
            <a:extLst>
              <a:ext uri="{FF2B5EF4-FFF2-40B4-BE49-F238E27FC236}">
                <a16:creationId xmlns:a16="http://schemas.microsoft.com/office/drawing/2014/main" id="{6A681326-1C9D-44A3-A627-3871BDAE41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1" y="1762067"/>
            <a:ext cx="12192417" cy="5095933"/>
          </a:xfrm>
          <a:custGeom>
            <a:avLst/>
            <a:gdLst>
              <a:gd name="connsiteX0" fmla="*/ 0 w 12192417"/>
              <a:gd name="connsiteY0" fmla="*/ 0 h 5095933"/>
              <a:gd name="connsiteX1" fmla="*/ 71931 w 12192417"/>
              <a:gd name="connsiteY1" fmla="*/ 12261 h 5095933"/>
              <a:gd name="connsiteX2" fmla="*/ 282848 w 12192417"/>
              <a:gd name="connsiteY2" fmla="*/ 48343 h 5095933"/>
              <a:gd name="connsiteX3" fmla="*/ 436463 w 12192417"/>
              <a:gd name="connsiteY3" fmla="*/ 73565 h 5095933"/>
              <a:gd name="connsiteX4" fmla="*/ 619338 w 12192417"/>
              <a:gd name="connsiteY4" fmla="*/ 100188 h 5095933"/>
              <a:gd name="connsiteX5" fmla="*/ 836350 w 12192417"/>
              <a:gd name="connsiteY5" fmla="*/ 132066 h 5095933"/>
              <a:gd name="connsiteX6" fmla="*/ 1076527 w 12192417"/>
              <a:gd name="connsiteY6" fmla="*/ 165696 h 5095933"/>
              <a:gd name="connsiteX7" fmla="*/ 1347183 w 12192417"/>
              <a:gd name="connsiteY7" fmla="*/ 201077 h 5095933"/>
              <a:gd name="connsiteX8" fmla="*/ 1642222 w 12192417"/>
              <a:gd name="connsiteY8" fmla="*/ 238560 h 5095933"/>
              <a:gd name="connsiteX9" fmla="*/ 1962863 w 12192417"/>
              <a:gd name="connsiteY9" fmla="*/ 276043 h 5095933"/>
              <a:gd name="connsiteX10" fmla="*/ 2304231 w 12192417"/>
              <a:gd name="connsiteY10" fmla="*/ 314227 h 5095933"/>
              <a:gd name="connsiteX11" fmla="*/ 2672420 w 12192417"/>
              <a:gd name="connsiteY11" fmla="*/ 349608 h 5095933"/>
              <a:gd name="connsiteX12" fmla="*/ 3057677 w 12192417"/>
              <a:gd name="connsiteY12" fmla="*/ 383588 h 5095933"/>
              <a:gd name="connsiteX13" fmla="*/ 3464880 w 12192417"/>
              <a:gd name="connsiteY13" fmla="*/ 414415 h 5095933"/>
              <a:gd name="connsiteX14" fmla="*/ 3889151 w 12192417"/>
              <a:gd name="connsiteY14" fmla="*/ 443841 h 5095933"/>
              <a:gd name="connsiteX15" fmla="*/ 4331709 w 12192417"/>
              <a:gd name="connsiteY15" fmla="*/ 471515 h 5095933"/>
              <a:gd name="connsiteX16" fmla="*/ 4558475 w 12192417"/>
              <a:gd name="connsiteY16" fmla="*/ 481324 h 5095933"/>
              <a:gd name="connsiteX17" fmla="*/ 4790117 w 12192417"/>
              <a:gd name="connsiteY17" fmla="*/ 492183 h 5095933"/>
              <a:gd name="connsiteX18" fmla="*/ 5025417 w 12192417"/>
              <a:gd name="connsiteY18" fmla="*/ 502342 h 5095933"/>
              <a:gd name="connsiteX19" fmla="*/ 5261936 w 12192417"/>
              <a:gd name="connsiteY19" fmla="*/ 508998 h 5095933"/>
              <a:gd name="connsiteX20" fmla="*/ 5503331 w 12192417"/>
              <a:gd name="connsiteY20" fmla="*/ 514953 h 5095933"/>
              <a:gd name="connsiteX21" fmla="*/ 5747166 w 12192417"/>
              <a:gd name="connsiteY21" fmla="*/ 521259 h 5095933"/>
              <a:gd name="connsiteX22" fmla="*/ 5995876 w 12192417"/>
              <a:gd name="connsiteY22" fmla="*/ 525463 h 5095933"/>
              <a:gd name="connsiteX23" fmla="*/ 6247025 w 12192417"/>
              <a:gd name="connsiteY23" fmla="*/ 525463 h 5095933"/>
              <a:gd name="connsiteX24" fmla="*/ 6500612 w 12192417"/>
              <a:gd name="connsiteY24" fmla="*/ 527565 h 5095933"/>
              <a:gd name="connsiteX25" fmla="*/ 6756638 w 12192417"/>
              <a:gd name="connsiteY25" fmla="*/ 525463 h 5095933"/>
              <a:gd name="connsiteX26" fmla="*/ 7016321 w 12192417"/>
              <a:gd name="connsiteY26" fmla="*/ 521259 h 5095933"/>
              <a:gd name="connsiteX27" fmla="*/ 7276004 w 12192417"/>
              <a:gd name="connsiteY27" fmla="*/ 517406 h 5095933"/>
              <a:gd name="connsiteX28" fmla="*/ 7539344 w 12192417"/>
              <a:gd name="connsiteY28" fmla="*/ 508998 h 5095933"/>
              <a:gd name="connsiteX29" fmla="*/ 7805123 w 12192417"/>
              <a:gd name="connsiteY29" fmla="*/ 500241 h 5095933"/>
              <a:gd name="connsiteX30" fmla="*/ 8070902 w 12192417"/>
              <a:gd name="connsiteY30" fmla="*/ 490082 h 5095933"/>
              <a:gd name="connsiteX31" fmla="*/ 8339120 w 12192417"/>
              <a:gd name="connsiteY31" fmla="*/ 475719 h 5095933"/>
              <a:gd name="connsiteX32" fmla="*/ 8609775 w 12192417"/>
              <a:gd name="connsiteY32" fmla="*/ 458554 h 5095933"/>
              <a:gd name="connsiteX33" fmla="*/ 8881650 w 12192417"/>
              <a:gd name="connsiteY33" fmla="*/ 442089 h 5095933"/>
              <a:gd name="connsiteX34" fmla="*/ 9153525 w 12192417"/>
              <a:gd name="connsiteY34" fmla="*/ 421071 h 5095933"/>
              <a:gd name="connsiteX35" fmla="*/ 9429057 w 12192417"/>
              <a:gd name="connsiteY35" fmla="*/ 395849 h 5095933"/>
              <a:gd name="connsiteX36" fmla="*/ 9700932 w 12192417"/>
              <a:gd name="connsiteY36" fmla="*/ 370626 h 5095933"/>
              <a:gd name="connsiteX37" fmla="*/ 9977683 w 12192417"/>
              <a:gd name="connsiteY37" fmla="*/ 341551 h 5095933"/>
              <a:gd name="connsiteX38" fmla="*/ 10255654 w 12192417"/>
              <a:gd name="connsiteY38" fmla="*/ 309673 h 5095933"/>
              <a:gd name="connsiteX39" fmla="*/ 10529967 w 12192417"/>
              <a:gd name="connsiteY39" fmla="*/ 276043 h 5095933"/>
              <a:gd name="connsiteX40" fmla="*/ 10807938 w 12192417"/>
              <a:gd name="connsiteY40" fmla="*/ 236809 h 5095933"/>
              <a:gd name="connsiteX41" fmla="*/ 11084689 w 12192417"/>
              <a:gd name="connsiteY41" fmla="*/ 194772 h 5095933"/>
              <a:gd name="connsiteX42" fmla="*/ 11362660 w 12192417"/>
              <a:gd name="connsiteY42" fmla="*/ 153085 h 5095933"/>
              <a:gd name="connsiteX43" fmla="*/ 11639411 w 12192417"/>
              <a:gd name="connsiteY43" fmla="*/ 104392 h 5095933"/>
              <a:gd name="connsiteX44" fmla="*/ 11914944 w 12192417"/>
              <a:gd name="connsiteY44" fmla="*/ 54648 h 5095933"/>
              <a:gd name="connsiteX45" fmla="*/ 12191695 w 12192417"/>
              <a:gd name="connsiteY45" fmla="*/ 2452 h 5095933"/>
              <a:gd name="connsiteX46" fmla="*/ 12191695 w 12192417"/>
              <a:gd name="connsiteY46" fmla="*/ 2162231 h 5095933"/>
              <a:gd name="connsiteX47" fmla="*/ 12192417 w 12192417"/>
              <a:gd name="connsiteY47" fmla="*/ 2162231 h 5095933"/>
              <a:gd name="connsiteX48" fmla="*/ 12192417 w 12192417"/>
              <a:gd name="connsiteY48" fmla="*/ 5095933 h 5095933"/>
              <a:gd name="connsiteX49" fmla="*/ 0 w 12192417"/>
              <a:gd name="connsiteY49" fmla="*/ 5095933 h 5095933"/>
              <a:gd name="connsiteX50" fmla="*/ 0 w 12192417"/>
              <a:gd name="connsiteY50" fmla="*/ 2791958 h 5095933"/>
              <a:gd name="connsiteX51" fmla="*/ 0 w 12192417"/>
              <a:gd name="connsiteY51" fmla="*/ 2162231 h 509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2192417" h="5095933">
                <a:moveTo>
                  <a:pt x="0" y="0"/>
                </a:moveTo>
                <a:lnTo>
                  <a:pt x="71931" y="12261"/>
                </a:lnTo>
                <a:lnTo>
                  <a:pt x="282848" y="48343"/>
                </a:lnTo>
                <a:lnTo>
                  <a:pt x="436463" y="73565"/>
                </a:lnTo>
                <a:lnTo>
                  <a:pt x="619338" y="100188"/>
                </a:lnTo>
                <a:lnTo>
                  <a:pt x="836350" y="132066"/>
                </a:lnTo>
                <a:lnTo>
                  <a:pt x="1076527" y="165696"/>
                </a:lnTo>
                <a:lnTo>
                  <a:pt x="1347183" y="201077"/>
                </a:lnTo>
                <a:lnTo>
                  <a:pt x="1642222" y="238560"/>
                </a:lnTo>
                <a:lnTo>
                  <a:pt x="1962863" y="276043"/>
                </a:lnTo>
                <a:lnTo>
                  <a:pt x="2304231" y="314227"/>
                </a:lnTo>
                <a:lnTo>
                  <a:pt x="2672420" y="349608"/>
                </a:lnTo>
                <a:lnTo>
                  <a:pt x="3057677" y="383588"/>
                </a:lnTo>
                <a:lnTo>
                  <a:pt x="3464880" y="414415"/>
                </a:lnTo>
                <a:lnTo>
                  <a:pt x="3889151" y="443841"/>
                </a:lnTo>
                <a:lnTo>
                  <a:pt x="4331709" y="471515"/>
                </a:lnTo>
                <a:lnTo>
                  <a:pt x="4558475" y="481324"/>
                </a:lnTo>
                <a:lnTo>
                  <a:pt x="4790117" y="492183"/>
                </a:lnTo>
                <a:lnTo>
                  <a:pt x="5025417" y="502342"/>
                </a:lnTo>
                <a:lnTo>
                  <a:pt x="5261936" y="508998"/>
                </a:lnTo>
                <a:lnTo>
                  <a:pt x="5503331" y="514953"/>
                </a:lnTo>
                <a:lnTo>
                  <a:pt x="5747166" y="521259"/>
                </a:lnTo>
                <a:lnTo>
                  <a:pt x="5995876" y="525463"/>
                </a:lnTo>
                <a:lnTo>
                  <a:pt x="6247025" y="525463"/>
                </a:lnTo>
                <a:lnTo>
                  <a:pt x="6500612" y="527565"/>
                </a:lnTo>
                <a:lnTo>
                  <a:pt x="6756638" y="525463"/>
                </a:lnTo>
                <a:lnTo>
                  <a:pt x="7016321" y="521259"/>
                </a:lnTo>
                <a:lnTo>
                  <a:pt x="7276004" y="517406"/>
                </a:lnTo>
                <a:lnTo>
                  <a:pt x="7539344" y="508998"/>
                </a:lnTo>
                <a:lnTo>
                  <a:pt x="7805123" y="500241"/>
                </a:lnTo>
                <a:lnTo>
                  <a:pt x="8070902" y="490082"/>
                </a:lnTo>
                <a:lnTo>
                  <a:pt x="8339120" y="475719"/>
                </a:lnTo>
                <a:lnTo>
                  <a:pt x="8609775" y="458554"/>
                </a:lnTo>
                <a:lnTo>
                  <a:pt x="8881650" y="442089"/>
                </a:lnTo>
                <a:lnTo>
                  <a:pt x="9153525" y="421071"/>
                </a:lnTo>
                <a:lnTo>
                  <a:pt x="9429057" y="395849"/>
                </a:lnTo>
                <a:lnTo>
                  <a:pt x="9700932" y="370626"/>
                </a:lnTo>
                <a:lnTo>
                  <a:pt x="9977683" y="341551"/>
                </a:lnTo>
                <a:lnTo>
                  <a:pt x="10255654" y="309673"/>
                </a:lnTo>
                <a:lnTo>
                  <a:pt x="10529967" y="276043"/>
                </a:lnTo>
                <a:lnTo>
                  <a:pt x="10807938" y="236809"/>
                </a:lnTo>
                <a:lnTo>
                  <a:pt x="11084689" y="194772"/>
                </a:lnTo>
                <a:lnTo>
                  <a:pt x="11362660" y="153085"/>
                </a:lnTo>
                <a:lnTo>
                  <a:pt x="11639411" y="104392"/>
                </a:lnTo>
                <a:lnTo>
                  <a:pt x="11914944" y="54648"/>
                </a:lnTo>
                <a:lnTo>
                  <a:pt x="12191695" y="2452"/>
                </a:lnTo>
                <a:lnTo>
                  <a:pt x="12191695" y="2162231"/>
                </a:lnTo>
                <a:lnTo>
                  <a:pt x="12192417" y="2162231"/>
                </a:lnTo>
                <a:lnTo>
                  <a:pt x="12192417" y="5095933"/>
                </a:lnTo>
                <a:lnTo>
                  <a:pt x="0" y="5095933"/>
                </a:lnTo>
                <a:lnTo>
                  <a:pt x="0" y="2791958"/>
                </a:lnTo>
                <a:lnTo>
                  <a:pt x="0" y="2162231"/>
                </a:lnTo>
                <a:close/>
              </a:path>
            </a:pathLst>
          </a:custGeom>
          <a:ln>
            <a:noFill/>
          </a:ln>
        </p:spPr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52DEB6-587F-4410-838F-3EA0BE6739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3312" y="452718"/>
            <a:ext cx="8947522" cy="1400530"/>
          </a:xfrm>
        </p:spPr>
        <p:txBody>
          <a:bodyPr anchor="ctr">
            <a:normAutofit/>
          </a:bodyPr>
          <a:lstStyle/>
          <a:p>
            <a:r>
              <a:rPr lang="en-US">
                <a:solidFill>
                  <a:srgbClr val="FFFFFF"/>
                </a:solidFill>
              </a:rPr>
              <a:t>Backup &amp; Disaster Recovery - Veeam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0325E80-61D6-4285-9DDD-62C3972F7D39}"/>
              </a:ext>
            </a:extLst>
          </p:cNvPr>
          <p:cNvSpPr txBox="1"/>
          <p:nvPr/>
        </p:nvSpPr>
        <p:spPr>
          <a:xfrm>
            <a:off x="384598" y="3429000"/>
            <a:ext cx="475548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Virtual machine backup and resto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Virtual machine replication to alternate datacen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Data stored in multiple loc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Backup and DR testing, meeting audit requir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Options available for on-prem server backu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</p:txBody>
      </p:sp>
      <p:pic>
        <p:nvPicPr>
          <p:cNvPr id="2050" name="Picture 2" descr="How Veeam Backup Enterprise Manager Works - Veeam Backup Enterprise Manager  Guide">
            <a:extLst>
              <a:ext uri="{FF2B5EF4-FFF2-40B4-BE49-F238E27FC236}">
                <a16:creationId xmlns:a16="http://schemas.microsoft.com/office/drawing/2014/main" id="{AB461E6E-AD0D-A1D7-14F0-CBFACAC2F4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2740404"/>
            <a:ext cx="4755482" cy="31023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62841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74CD14DB-BB81-479F-A1FC-1C75640E9F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C943A91B-7CA7-4592-A975-73B1BF8C4C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EC471314-E46A-414B-8D91-74880E84F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719939" y="1460230"/>
            <a:ext cx="3472060" cy="825932"/>
          </a:xfrm>
          <a:custGeom>
            <a:avLst/>
            <a:gdLst>
              <a:gd name="connsiteX0" fmla="*/ 3470310 w 3472060"/>
              <a:gd name="connsiteY0" fmla="*/ 0 h 825932"/>
              <a:gd name="connsiteX1" fmla="*/ 3472060 w 3472060"/>
              <a:gd name="connsiteY1" fmla="*/ 12850 h 825932"/>
              <a:gd name="connsiteX2" fmla="*/ 3472060 w 3472060"/>
              <a:gd name="connsiteY2" fmla="*/ 480529 h 825932"/>
              <a:gd name="connsiteX3" fmla="*/ 3363699 w 3472060"/>
              <a:gd name="connsiteY3" fmla="*/ 498471 h 825932"/>
              <a:gd name="connsiteX4" fmla="*/ 42060 w 3472060"/>
              <a:gd name="connsiteY4" fmla="*/ 824486 h 825932"/>
              <a:gd name="connsiteX5" fmla="*/ 0 w 3472060"/>
              <a:gd name="connsiteY5" fmla="*/ 758452 h 825932"/>
              <a:gd name="connsiteX6" fmla="*/ 188014 w 3472060"/>
              <a:gd name="connsiteY6" fmla="*/ 735602 h 825932"/>
              <a:gd name="connsiteX7" fmla="*/ 284087 w 3472060"/>
              <a:gd name="connsiteY7" fmla="*/ 722590 h 825932"/>
              <a:gd name="connsiteX8" fmla="*/ 382288 w 3472060"/>
              <a:gd name="connsiteY8" fmla="*/ 709392 h 825932"/>
              <a:gd name="connsiteX9" fmla="*/ 481858 w 3472060"/>
              <a:gd name="connsiteY9" fmla="*/ 695774 h 825932"/>
              <a:gd name="connsiteX10" fmla="*/ 581897 w 3472060"/>
              <a:gd name="connsiteY10" fmla="*/ 680711 h 825932"/>
              <a:gd name="connsiteX11" fmla="*/ 683670 w 3472060"/>
              <a:gd name="connsiteY11" fmla="*/ 665256 h 825932"/>
              <a:gd name="connsiteX12" fmla="*/ 787206 w 3472060"/>
              <a:gd name="connsiteY12" fmla="*/ 649587 h 825932"/>
              <a:gd name="connsiteX13" fmla="*/ 892019 w 3472060"/>
              <a:gd name="connsiteY13" fmla="*/ 632968 h 825932"/>
              <a:gd name="connsiteX14" fmla="*/ 997620 w 3472060"/>
              <a:gd name="connsiteY14" fmla="*/ 614667 h 825932"/>
              <a:gd name="connsiteX15" fmla="*/ 1104727 w 3472060"/>
              <a:gd name="connsiteY15" fmla="*/ 596741 h 825932"/>
              <a:gd name="connsiteX16" fmla="*/ 1212669 w 3472060"/>
              <a:gd name="connsiteY16" fmla="*/ 577397 h 825932"/>
              <a:gd name="connsiteX17" fmla="*/ 1321506 w 3472060"/>
              <a:gd name="connsiteY17" fmla="*/ 556988 h 825932"/>
              <a:gd name="connsiteX18" fmla="*/ 1430709 w 3472060"/>
              <a:gd name="connsiteY18" fmla="*/ 536607 h 825932"/>
              <a:gd name="connsiteX19" fmla="*/ 1541050 w 3472060"/>
              <a:gd name="connsiteY19" fmla="*/ 514481 h 825932"/>
              <a:gd name="connsiteX20" fmla="*/ 1652805 w 3472060"/>
              <a:gd name="connsiteY20" fmla="*/ 492202 h 825932"/>
              <a:gd name="connsiteX21" fmla="*/ 1763708 w 3472060"/>
              <a:gd name="connsiteY21" fmla="*/ 469161 h 825932"/>
              <a:gd name="connsiteX22" fmla="*/ 1875795 w 3472060"/>
              <a:gd name="connsiteY22" fmla="*/ 444641 h 825932"/>
              <a:gd name="connsiteX23" fmla="*/ 1989128 w 3472060"/>
              <a:gd name="connsiteY23" fmla="*/ 418995 h 825932"/>
              <a:gd name="connsiteX24" fmla="*/ 2102476 w 3472060"/>
              <a:gd name="connsiteY24" fmla="*/ 393438 h 825932"/>
              <a:gd name="connsiteX25" fmla="*/ 2215549 w 3472060"/>
              <a:gd name="connsiteY25" fmla="*/ 366291 h 825932"/>
              <a:gd name="connsiteX26" fmla="*/ 2330490 w 3472060"/>
              <a:gd name="connsiteY26" fmla="*/ 337455 h 825932"/>
              <a:gd name="connsiteX27" fmla="*/ 2443333 w 3472060"/>
              <a:gd name="connsiteY27" fmla="*/ 308983 h 825932"/>
              <a:gd name="connsiteX28" fmla="*/ 2558014 w 3472060"/>
              <a:gd name="connsiteY28" fmla="*/ 278646 h 825932"/>
              <a:gd name="connsiteX29" fmla="*/ 2673621 w 3472060"/>
              <a:gd name="connsiteY29" fmla="*/ 247421 h 825932"/>
              <a:gd name="connsiteX30" fmla="*/ 2787008 w 3472060"/>
              <a:gd name="connsiteY30" fmla="*/ 215853 h 825932"/>
              <a:gd name="connsiteX31" fmla="*/ 2901442 w 3472060"/>
              <a:gd name="connsiteY31" fmla="*/ 182011 h 825932"/>
              <a:gd name="connsiteX32" fmla="*/ 3015722 w 3472060"/>
              <a:gd name="connsiteY32" fmla="*/ 147286 h 825932"/>
              <a:gd name="connsiteX33" fmla="*/ 3130018 w 3472060"/>
              <a:gd name="connsiteY33" fmla="*/ 112649 h 825932"/>
              <a:gd name="connsiteX34" fmla="*/ 3243551 w 3472060"/>
              <a:gd name="connsiteY34" fmla="*/ 75688 h 825932"/>
              <a:gd name="connsiteX35" fmla="*/ 3356992 w 3472060"/>
              <a:gd name="connsiteY35" fmla="*/ 38197 h 825932"/>
              <a:gd name="connsiteX36" fmla="*/ 3470310 w 3472060"/>
              <a:gd name="connsiteY36" fmla="*/ 0 h 825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472060" h="825932">
                <a:moveTo>
                  <a:pt x="3470310" y="0"/>
                </a:moveTo>
                <a:lnTo>
                  <a:pt x="3472060" y="12850"/>
                </a:lnTo>
                <a:lnTo>
                  <a:pt x="3472060" y="480529"/>
                </a:lnTo>
                <a:lnTo>
                  <a:pt x="3363699" y="498471"/>
                </a:lnTo>
                <a:cubicBezTo>
                  <a:pt x="2435623" y="645518"/>
                  <a:pt x="603076" y="844866"/>
                  <a:pt x="42060" y="824486"/>
                </a:cubicBezTo>
                <a:cubicBezTo>
                  <a:pt x="28151" y="802425"/>
                  <a:pt x="13909" y="780513"/>
                  <a:pt x="0" y="758452"/>
                </a:cubicBezTo>
                <a:lnTo>
                  <a:pt x="188014" y="735602"/>
                </a:lnTo>
                <a:lnTo>
                  <a:pt x="284087" y="722590"/>
                </a:lnTo>
                <a:lnTo>
                  <a:pt x="382288" y="709392"/>
                </a:lnTo>
                <a:lnTo>
                  <a:pt x="481858" y="695774"/>
                </a:lnTo>
                <a:lnTo>
                  <a:pt x="581897" y="680711"/>
                </a:lnTo>
                <a:lnTo>
                  <a:pt x="683670" y="665256"/>
                </a:lnTo>
                <a:lnTo>
                  <a:pt x="787206" y="649587"/>
                </a:lnTo>
                <a:lnTo>
                  <a:pt x="892019" y="632968"/>
                </a:lnTo>
                <a:lnTo>
                  <a:pt x="997620" y="614667"/>
                </a:lnTo>
                <a:lnTo>
                  <a:pt x="1104727" y="596741"/>
                </a:lnTo>
                <a:lnTo>
                  <a:pt x="1212669" y="577397"/>
                </a:lnTo>
                <a:lnTo>
                  <a:pt x="1321506" y="556988"/>
                </a:lnTo>
                <a:lnTo>
                  <a:pt x="1430709" y="536607"/>
                </a:lnTo>
                <a:lnTo>
                  <a:pt x="1541050" y="514481"/>
                </a:lnTo>
                <a:lnTo>
                  <a:pt x="1652805" y="492202"/>
                </a:lnTo>
                <a:lnTo>
                  <a:pt x="1763708" y="469161"/>
                </a:lnTo>
                <a:lnTo>
                  <a:pt x="1875795" y="444641"/>
                </a:lnTo>
                <a:lnTo>
                  <a:pt x="1989128" y="418995"/>
                </a:lnTo>
                <a:lnTo>
                  <a:pt x="2102476" y="393438"/>
                </a:lnTo>
                <a:lnTo>
                  <a:pt x="2215549" y="366291"/>
                </a:lnTo>
                <a:lnTo>
                  <a:pt x="2330490" y="337455"/>
                </a:lnTo>
                <a:lnTo>
                  <a:pt x="2443333" y="308983"/>
                </a:lnTo>
                <a:lnTo>
                  <a:pt x="2558014" y="278646"/>
                </a:lnTo>
                <a:lnTo>
                  <a:pt x="2673621" y="247421"/>
                </a:lnTo>
                <a:lnTo>
                  <a:pt x="2787008" y="215853"/>
                </a:lnTo>
                <a:lnTo>
                  <a:pt x="2901442" y="182011"/>
                </a:lnTo>
                <a:lnTo>
                  <a:pt x="3015722" y="147286"/>
                </a:lnTo>
                <a:lnTo>
                  <a:pt x="3130018" y="112649"/>
                </a:lnTo>
                <a:lnTo>
                  <a:pt x="3243551" y="75688"/>
                </a:lnTo>
                <a:lnTo>
                  <a:pt x="3356992" y="38197"/>
                </a:lnTo>
                <a:lnTo>
                  <a:pt x="347031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 useBgFill="1">
        <p:nvSpPr>
          <p:cNvPr id="9" name="Freeform: Shape 13">
            <a:extLst>
              <a:ext uri="{FF2B5EF4-FFF2-40B4-BE49-F238E27FC236}">
                <a16:creationId xmlns:a16="http://schemas.microsoft.com/office/drawing/2014/main" id="{6A681326-1C9D-44A3-A627-3871BDAE41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1" y="1762067"/>
            <a:ext cx="12192417" cy="5095933"/>
          </a:xfrm>
          <a:custGeom>
            <a:avLst/>
            <a:gdLst>
              <a:gd name="connsiteX0" fmla="*/ 0 w 12192417"/>
              <a:gd name="connsiteY0" fmla="*/ 0 h 5095933"/>
              <a:gd name="connsiteX1" fmla="*/ 71931 w 12192417"/>
              <a:gd name="connsiteY1" fmla="*/ 12261 h 5095933"/>
              <a:gd name="connsiteX2" fmla="*/ 282848 w 12192417"/>
              <a:gd name="connsiteY2" fmla="*/ 48343 h 5095933"/>
              <a:gd name="connsiteX3" fmla="*/ 436463 w 12192417"/>
              <a:gd name="connsiteY3" fmla="*/ 73565 h 5095933"/>
              <a:gd name="connsiteX4" fmla="*/ 619338 w 12192417"/>
              <a:gd name="connsiteY4" fmla="*/ 100188 h 5095933"/>
              <a:gd name="connsiteX5" fmla="*/ 836350 w 12192417"/>
              <a:gd name="connsiteY5" fmla="*/ 132066 h 5095933"/>
              <a:gd name="connsiteX6" fmla="*/ 1076527 w 12192417"/>
              <a:gd name="connsiteY6" fmla="*/ 165696 h 5095933"/>
              <a:gd name="connsiteX7" fmla="*/ 1347183 w 12192417"/>
              <a:gd name="connsiteY7" fmla="*/ 201077 h 5095933"/>
              <a:gd name="connsiteX8" fmla="*/ 1642222 w 12192417"/>
              <a:gd name="connsiteY8" fmla="*/ 238560 h 5095933"/>
              <a:gd name="connsiteX9" fmla="*/ 1962863 w 12192417"/>
              <a:gd name="connsiteY9" fmla="*/ 276043 h 5095933"/>
              <a:gd name="connsiteX10" fmla="*/ 2304231 w 12192417"/>
              <a:gd name="connsiteY10" fmla="*/ 314227 h 5095933"/>
              <a:gd name="connsiteX11" fmla="*/ 2672420 w 12192417"/>
              <a:gd name="connsiteY11" fmla="*/ 349608 h 5095933"/>
              <a:gd name="connsiteX12" fmla="*/ 3057677 w 12192417"/>
              <a:gd name="connsiteY12" fmla="*/ 383588 h 5095933"/>
              <a:gd name="connsiteX13" fmla="*/ 3464880 w 12192417"/>
              <a:gd name="connsiteY13" fmla="*/ 414415 h 5095933"/>
              <a:gd name="connsiteX14" fmla="*/ 3889151 w 12192417"/>
              <a:gd name="connsiteY14" fmla="*/ 443841 h 5095933"/>
              <a:gd name="connsiteX15" fmla="*/ 4331709 w 12192417"/>
              <a:gd name="connsiteY15" fmla="*/ 471515 h 5095933"/>
              <a:gd name="connsiteX16" fmla="*/ 4558475 w 12192417"/>
              <a:gd name="connsiteY16" fmla="*/ 481324 h 5095933"/>
              <a:gd name="connsiteX17" fmla="*/ 4790117 w 12192417"/>
              <a:gd name="connsiteY17" fmla="*/ 492183 h 5095933"/>
              <a:gd name="connsiteX18" fmla="*/ 5025417 w 12192417"/>
              <a:gd name="connsiteY18" fmla="*/ 502342 h 5095933"/>
              <a:gd name="connsiteX19" fmla="*/ 5261936 w 12192417"/>
              <a:gd name="connsiteY19" fmla="*/ 508998 h 5095933"/>
              <a:gd name="connsiteX20" fmla="*/ 5503331 w 12192417"/>
              <a:gd name="connsiteY20" fmla="*/ 514953 h 5095933"/>
              <a:gd name="connsiteX21" fmla="*/ 5747166 w 12192417"/>
              <a:gd name="connsiteY21" fmla="*/ 521259 h 5095933"/>
              <a:gd name="connsiteX22" fmla="*/ 5995876 w 12192417"/>
              <a:gd name="connsiteY22" fmla="*/ 525463 h 5095933"/>
              <a:gd name="connsiteX23" fmla="*/ 6247025 w 12192417"/>
              <a:gd name="connsiteY23" fmla="*/ 525463 h 5095933"/>
              <a:gd name="connsiteX24" fmla="*/ 6500612 w 12192417"/>
              <a:gd name="connsiteY24" fmla="*/ 527565 h 5095933"/>
              <a:gd name="connsiteX25" fmla="*/ 6756638 w 12192417"/>
              <a:gd name="connsiteY25" fmla="*/ 525463 h 5095933"/>
              <a:gd name="connsiteX26" fmla="*/ 7016321 w 12192417"/>
              <a:gd name="connsiteY26" fmla="*/ 521259 h 5095933"/>
              <a:gd name="connsiteX27" fmla="*/ 7276004 w 12192417"/>
              <a:gd name="connsiteY27" fmla="*/ 517406 h 5095933"/>
              <a:gd name="connsiteX28" fmla="*/ 7539344 w 12192417"/>
              <a:gd name="connsiteY28" fmla="*/ 508998 h 5095933"/>
              <a:gd name="connsiteX29" fmla="*/ 7805123 w 12192417"/>
              <a:gd name="connsiteY29" fmla="*/ 500241 h 5095933"/>
              <a:gd name="connsiteX30" fmla="*/ 8070902 w 12192417"/>
              <a:gd name="connsiteY30" fmla="*/ 490082 h 5095933"/>
              <a:gd name="connsiteX31" fmla="*/ 8339120 w 12192417"/>
              <a:gd name="connsiteY31" fmla="*/ 475719 h 5095933"/>
              <a:gd name="connsiteX32" fmla="*/ 8609775 w 12192417"/>
              <a:gd name="connsiteY32" fmla="*/ 458554 h 5095933"/>
              <a:gd name="connsiteX33" fmla="*/ 8881650 w 12192417"/>
              <a:gd name="connsiteY33" fmla="*/ 442089 h 5095933"/>
              <a:gd name="connsiteX34" fmla="*/ 9153525 w 12192417"/>
              <a:gd name="connsiteY34" fmla="*/ 421071 h 5095933"/>
              <a:gd name="connsiteX35" fmla="*/ 9429057 w 12192417"/>
              <a:gd name="connsiteY35" fmla="*/ 395849 h 5095933"/>
              <a:gd name="connsiteX36" fmla="*/ 9700932 w 12192417"/>
              <a:gd name="connsiteY36" fmla="*/ 370626 h 5095933"/>
              <a:gd name="connsiteX37" fmla="*/ 9977683 w 12192417"/>
              <a:gd name="connsiteY37" fmla="*/ 341551 h 5095933"/>
              <a:gd name="connsiteX38" fmla="*/ 10255654 w 12192417"/>
              <a:gd name="connsiteY38" fmla="*/ 309673 h 5095933"/>
              <a:gd name="connsiteX39" fmla="*/ 10529967 w 12192417"/>
              <a:gd name="connsiteY39" fmla="*/ 276043 h 5095933"/>
              <a:gd name="connsiteX40" fmla="*/ 10807938 w 12192417"/>
              <a:gd name="connsiteY40" fmla="*/ 236809 h 5095933"/>
              <a:gd name="connsiteX41" fmla="*/ 11084689 w 12192417"/>
              <a:gd name="connsiteY41" fmla="*/ 194772 h 5095933"/>
              <a:gd name="connsiteX42" fmla="*/ 11362660 w 12192417"/>
              <a:gd name="connsiteY42" fmla="*/ 153085 h 5095933"/>
              <a:gd name="connsiteX43" fmla="*/ 11639411 w 12192417"/>
              <a:gd name="connsiteY43" fmla="*/ 104392 h 5095933"/>
              <a:gd name="connsiteX44" fmla="*/ 11914944 w 12192417"/>
              <a:gd name="connsiteY44" fmla="*/ 54648 h 5095933"/>
              <a:gd name="connsiteX45" fmla="*/ 12191695 w 12192417"/>
              <a:gd name="connsiteY45" fmla="*/ 2452 h 5095933"/>
              <a:gd name="connsiteX46" fmla="*/ 12191695 w 12192417"/>
              <a:gd name="connsiteY46" fmla="*/ 2162231 h 5095933"/>
              <a:gd name="connsiteX47" fmla="*/ 12192417 w 12192417"/>
              <a:gd name="connsiteY47" fmla="*/ 2162231 h 5095933"/>
              <a:gd name="connsiteX48" fmla="*/ 12192417 w 12192417"/>
              <a:gd name="connsiteY48" fmla="*/ 5095933 h 5095933"/>
              <a:gd name="connsiteX49" fmla="*/ 0 w 12192417"/>
              <a:gd name="connsiteY49" fmla="*/ 5095933 h 5095933"/>
              <a:gd name="connsiteX50" fmla="*/ 0 w 12192417"/>
              <a:gd name="connsiteY50" fmla="*/ 2791958 h 5095933"/>
              <a:gd name="connsiteX51" fmla="*/ 0 w 12192417"/>
              <a:gd name="connsiteY51" fmla="*/ 2162231 h 509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2192417" h="5095933">
                <a:moveTo>
                  <a:pt x="0" y="0"/>
                </a:moveTo>
                <a:lnTo>
                  <a:pt x="71931" y="12261"/>
                </a:lnTo>
                <a:lnTo>
                  <a:pt x="282848" y="48343"/>
                </a:lnTo>
                <a:lnTo>
                  <a:pt x="436463" y="73565"/>
                </a:lnTo>
                <a:lnTo>
                  <a:pt x="619338" y="100188"/>
                </a:lnTo>
                <a:lnTo>
                  <a:pt x="836350" y="132066"/>
                </a:lnTo>
                <a:lnTo>
                  <a:pt x="1076527" y="165696"/>
                </a:lnTo>
                <a:lnTo>
                  <a:pt x="1347183" y="201077"/>
                </a:lnTo>
                <a:lnTo>
                  <a:pt x="1642222" y="238560"/>
                </a:lnTo>
                <a:lnTo>
                  <a:pt x="1962863" y="276043"/>
                </a:lnTo>
                <a:lnTo>
                  <a:pt x="2304231" y="314227"/>
                </a:lnTo>
                <a:lnTo>
                  <a:pt x="2672420" y="349608"/>
                </a:lnTo>
                <a:lnTo>
                  <a:pt x="3057677" y="383588"/>
                </a:lnTo>
                <a:lnTo>
                  <a:pt x="3464880" y="414415"/>
                </a:lnTo>
                <a:lnTo>
                  <a:pt x="3889151" y="443841"/>
                </a:lnTo>
                <a:lnTo>
                  <a:pt x="4331709" y="471515"/>
                </a:lnTo>
                <a:lnTo>
                  <a:pt x="4558475" y="481324"/>
                </a:lnTo>
                <a:lnTo>
                  <a:pt x="4790117" y="492183"/>
                </a:lnTo>
                <a:lnTo>
                  <a:pt x="5025417" y="502342"/>
                </a:lnTo>
                <a:lnTo>
                  <a:pt x="5261936" y="508998"/>
                </a:lnTo>
                <a:lnTo>
                  <a:pt x="5503331" y="514953"/>
                </a:lnTo>
                <a:lnTo>
                  <a:pt x="5747166" y="521259"/>
                </a:lnTo>
                <a:lnTo>
                  <a:pt x="5995876" y="525463"/>
                </a:lnTo>
                <a:lnTo>
                  <a:pt x="6247025" y="525463"/>
                </a:lnTo>
                <a:lnTo>
                  <a:pt x="6500612" y="527565"/>
                </a:lnTo>
                <a:lnTo>
                  <a:pt x="6756638" y="525463"/>
                </a:lnTo>
                <a:lnTo>
                  <a:pt x="7016321" y="521259"/>
                </a:lnTo>
                <a:lnTo>
                  <a:pt x="7276004" y="517406"/>
                </a:lnTo>
                <a:lnTo>
                  <a:pt x="7539344" y="508998"/>
                </a:lnTo>
                <a:lnTo>
                  <a:pt x="7805123" y="500241"/>
                </a:lnTo>
                <a:lnTo>
                  <a:pt x="8070902" y="490082"/>
                </a:lnTo>
                <a:lnTo>
                  <a:pt x="8339120" y="475719"/>
                </a:lnTo>
                <a:lnTo>
                  <a:pt x="8609775" y="458554"/>
                </a:lnTo>
                <a:lnTo>
                  <a:pt x="8881650" y="442089"/>
                </a:lnTo>
                <a:lnTo>
                  <a:pt x="9153525" y="421071"/>
                </a:lnTo>
                <a:lnTo>
                  <a:pt x="9429057" y="395849"/>
                </a:lnTo>
                <a:lnTo>
                  <a:pt x="9700932" y="370626"/>
                </a:lnTo>
                <a:lnTo>
                  <a:pt x="9977683" y="341551"/>
                </a:lnTo>
                <a:lnTo>
                  <a:pt x="10255654" y="309673"/>
                </a:lnTo>
                <a:lnTo>
                  <a:pt x="10529967" y="276043"/>
                </a:lnTo>
                <a:lnTo>
                  <a:pt x="10807938" y="236809"/>
                </a:lnTo>
                <a:lnTo>
                  <a:pt x="11084689" y="194772"/>
                </a:lnTo>
                <a:lnTo>
                  <a:pt x="11362660" y="153085"/>
                </a:lnTo>
                <a:lnTo>
                  <a:pt x="11639411" y="104392"/>
                </a:lnTo>
                <a:lnTo>
                  <a:pt x="11914944" y="54648"/>
                </a:lnTo>
                <a:lnTo>
                  <a:pt x="12191695" y="2452"/>
                </a:lnTo>
                <a:lnTo>
                  <a:pt x="12191695" y="2162231"/>
                </a:lnTo>
                <a:lnTo>
                  <a:pt x="12192417" y="2162231"/>
                </a:lnTo>
                <a:lnTo>
                  <a:pt x="12192417" y="5095933"/>
                </a:lnTo>
                <a:lnTo>
                  <a:pt x="0" y="5095933"/>
                </a:lnTo>
                <a:lnTo>
                  <a:pt x="0" y="2791958"/>
                </a:lnTo>
                <a:lnTo>
                  <a:pt x="0" y="2162231"/>
                </a:lnTo>
                <a:close/>
              </a:path>
            </a:pathLst>
          </a:custGeom>
          <a:ln>
            <a:noFill/>
          </a:ln>
        </p:spPr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52DEB6-587F-4410-838F-3EA0BE6739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3312" y="452718"/>
            <a:ext cx="8947522" cy="1400530"/>
          </a:xfrm>
        </p:spPr>
        <p:txBody>
          <a:bodyPr anchor="ctr">
            <a:normAutofit/>
          </a:bodyPr>
          <a:lstStyle/>
          <a:p>
            <a:r>
              <a:rPr lang="en-US">
                <a:solidFill>
                  <a:srgbClr val="FFFFFF"/>
                </a:solidFill>
              </a:rPr>
              <a:t>Logging and Security Analytics</a:t>
            </a:r>
          </a:p>
        </p:txBody>
      </p:sp>
      <p:pic>
        <p:nvPicPr>
          <p:cNvPr id="3076" name="Picture 4" descr="Benefits of Log Consolidation in a SIEM Environment - Pratum">
            <a:extLst>
              <a:ext uri="{FF2B5EF4-FFF2-40B4-BE49-F238E27FC236}">
                <a16:creationId xmlns:a16="http://schemas.microsoft.com/office/drawing/2014/main" id="{F82F9407-A09E-4905-B2D4-0A8F397F9C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6045" y="2947217"/>
            <a:ext cx="7702055" cy="3458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83577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74CD14DB-BB81-479F-A1FC-1C75640E9F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C943A91B-7CA7-4592-A975-73B1BF8C4C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EC471314-E46A-414B-8D91-74880E84F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719939" y="1460230"/>
            <a:ext cx="3472060" cy="825932"/>
          </a:xfrm>
          <a:custGeom>
            <a:avLst/>
            <a:gdLst>
              <a:gd name="connsiteX0" fmla="*/ 3470310 w 3472060"/>
              <a:gd name="connsiteY0" fmla="*/ 0 h 825932"/>
              <a:gd name="connsiteX1" fmla="*/ 3472060 w 3472060"/>
              <a:gd name="connsiteY1" fmla="*/ 12850 h 825932"/>
              <a:gd name="connsiteX2" fmla="*/ 3472060 w 3472060"/>
              <a:gd name="connsiteY2" fmla="*/ 480529 h 825932"/>
              <a:gd name="connsiteX3" fmla="*/ 3363699 w 3472060"/>
              <a:gd name="connsiteY3" fmla="*/ 498471 h 825932"/>
              <a:gd name="connsiteX4" fmla="*/ 42060 w 3472060"/>
              <a:gd name="connsiteY4" fmla="*/ 824486 h 825932"/>
              <a:gd name="connsiteX5" fmla="*/ 0 w 3472060"/>
              <a:gd name="connsiteY5" fmla="*/ 758452 h 825932"/>
              <a:gd name="connsiteX6" fmla="*/ 188014 w 3472060"/>
              <a:gd name="connsiteY6" fmla="*/ 735602 h 825932"/>
              <a:gd name="connsiteX7" fmla="*/ 284087 w 3472060"/>
              <a:gd name="connsiteY7" fmla="*/ 722590 h 825932"/>
              <a:gd name="connsiteX8" fmla="*/ 382288 w 3472060"/>
              <a:gd name="connsiteY8" fmla="*/ 709392 h 825932"/>
              <a:gd name="connsiteX9" fmla="*/ 481858 w 3472060"/>
              <a:gd name="connsiteY9" fmla="*/ 695774 h 825932"/>
              <a:gd name="connsiteX10" fmla="*/ 581897 w 3472060"/>
              <a:gd name="connsiteY10" fmla="*/ 680711 h 825932"/>
              <a:gd name="connsiteX11" fmla="*/ 683670 w 3472060"/>
              <a:gd name="connsiteY11" fmla="*/ 665256 h 825932"/>
              <a:gd name="connsiteX12" fmla="*/ 787206 w 3472060"/>
              <a:gd name="connsiteY12" fmla="*/ 649587 h 825932"/>
              <a:gd name="connsiteX13" fmla="*/ 892019 w 3472060"/>
              <a:gd name="connsiteY13" fmla="*/ 632968 h 825932"/>
              <a:gd name="connsiteX14" fmla="*/ 997620 w 3472060"/>
              <a:gd name="connsiteY14" fmla="*/ 614667 h 825932"/>
              <a:gd name="connsiteX15" fmla="*/ 1104727 w 3472060"/>
              <a:gd name="connsiteY15" fmla="*/ 596741 h 825932"/>
              <a:gd name="connsiteX16" fmla="*/ 1212669 w 3472060"/>
              <a:gd name="connsiteY16" fmla="*/ 577397 h 825932"/>
              <a:gd name="connsiteX17" fmla="*/ 1321506 w 3472060"/>
              <a:gd name="connsiteY17" fmla="*/ 556988 h 825932"/>
              <a:gd name="connsiteX18" fmla="*/ 1430709 w 3472060"/>
              <a:gd name="connsiteY18" fmla="*/ 536607 h 825932"/>
              <a:gd name="connsiteX19" fmla="*/ 1541050 w 3472060"/>
              <a:gd name="connsiteY19" fmla="*/ 514481 h 825932"/>
              <a:gd name="connsiteX20" fmla="*/ 1652805 w 3472060"/>
              <a:gd name="connsiteY20" fmla="*/ 492202 h 825932"/>
              <a:gd name="connsiteX21" fmla="*/ 1763708 w 3472060"/>
              <a:gd name="connsiteY21" fmla="*/ 469161 h 825932"/>
              <a:gd name="connsiteX22" fmla="*/ 1875795 w 3472060"/>
              <a:gd name="connsiteY22" fmla="*/ 444641 h 825932"/>
              <a:gd name="connsiteX23" fmla="*/ 1989128 w 3472060"/>
              <a:gd name="connsiteY23" fmla="*/ 418995 h 825932"/>
              <a:gd name="connsiteX24" fmla="*/ 2102476 w 3472060"/>
              <a:gd name="connsiteY24" fmla="*/ 393438 h 825932"/>
              <a:gd name="connsiteX25" fmla="*/ 2215549 w 3472060"/>
              <a:gd name="connsiteY25" fmla="*/ 366291 h 825932"/>
              <a:gd name="connsiteX26" fmla="*/ 2330490 w 3472060"/>
              <a:gd name="connsiteY26" fmla="*/ 337455 h 825932"/>
              <a:gd name="connsiteX27" fmla="*/ 2443333 w 3472060"/>
              <a:gd name="connsiteY27" fmla="*/ 308983 h 825932"/>
              <a:gd name="connsiteX28" fmla="*/ 2558014 w 3472060"/>
              <a:gd name="connsiteY28" fmla="*/ 278646 h 825932"/>
              <a:gd name="connsiteX29" fmla="*/ 2673621 w 3472060"/>
              <a:gd name="connsiteY29" fmla="*/ 247421 h 825932"/>
              <a:gd name="connsiteX30" fmla="*/ 2787008 w 3472060"/>
              <a:gd name="connsiteY30" fmla="*/ 215853 h 825932"/>
              <a:gd name="connsiteX31" fmla="*/ 2901442 w 3472060"/>
              <a:gd name="connsiteY31" fmla="*/ 182011 h 825932"/>
              <a:gd name="connsiteX32" fmla="*/ 3015722 w 3472060"/>
              <a:gd name="connsiteY32" fmla="*/ 147286 h 825932"/>
              <a:gd name="connsiteX33" fmla="*/ 3130018 w 3472060"/>
              <a:gd name="connsiteY33" fmla="*/ 112649 h 825932"/>
              <a:gd name="connsiteX34" fmla="*/ 3243551 w 3472060"/>
              <a:gd name="connsiteY34" fmla="*/ 75688 h 825932"/>
              <a:gd name="connsiteX35" fmla="*/ 3356992 w 3472060"/>
              <a:gd name="connsiteY35" fmla="*/ 38197 h 825932"/>
              <a:gd name="connsiteX36" fmla="*/ 3470310 w 3472060"/>
              <a:gd name="connsiteY36" fmla="*/ 0 h 825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472060" h="825932">
                <a:moveTo>
                  <a:pt x="3470310" y="0"/>
                </a:moveTo>
                <a:lnTo>
                  <a:pt x="3472060" y="12850"/>
                </a:lnTo>
                <a:lnTo>
                  <a:pt x="3472060" y="480529"/>
                </a:lnTo>
                <a:lnTo>
                  <a:pt x="3363699" y="498471"/>
                </a:lnTo>
                <a:cubicBezTo>
                  <a:pt x="2435623" y="645518"/>
                  <a:pt x="603076" y="844866"/>
                  <a:pt x="42060" y="824486"/>
                </a:cubicBezTo>
                <a:cubicBezTo>
                  <a:pt x="28151" y="802425"/>
                  <a:pt x="13909" y="780513"/>
                  <a:pt x="0" y="758452"/>
                </a:cubicBezTo>
                <a:lnTo>
                  <a:pt x="188014" y="735602"/>
                </a:lnTo>
                <a:lnTo>
                  <a:pt x="284087" y="722590"/>
                </a:lnTo>
                <a:lnTo>
                  <a:pt x="382288" y="709392"/>
                </a:lnTo>
                <a:lnTo>
                  <a:pt x="481858" y="695774"/>
                </a:lnTo>
                <a:lnTo>
                  <a:pt x="581897" y="680711"/>
                </a:lnTo>
                <a:lnTo>
                  <a:pt x="683670" y="665256"/>
                </a:lnTo>
                <a:lnTo>
                  <a:pt x="787206" y="649587"/>
                </a:lnTo>
                <a:lnTo>
                  <a:pt x="892019" y="632968"/>
                </a:lnTo>
                <a:lnTo>
                  <a:pt x="997620" y="614667"/>
                </a:lnTo>
                <a:lnTo>
                  <a:pt x="1104727" y="596741"/>
                </a:lnTo>
                <a:lnTo>
                  <a:pt x="1212669" y="577397"/>
                </a:lnTo>
                <a:lnTo>
                  <a:pt x="1321506" y="556988"/>
                </a:lnTo>
                <a:lnTo>
                  <a:pt x="1430709" y="536607"/>
                </a:lnTo>
                <a:lnTo>
                  <a:pt x="1541050" y="514481"/>
                </a:lnTo>
                <a:lnTo>
                  <a:pt x="1652805" y="492202"/>
                </a:lnTo>
                <a:lnTo>
                  <a:pt x="1763708" y="469161"/>
                </a:lnTo>
                <a:lnTo>
                  <a:pt x="1875795" y="444641"/>
                </a:lnTo>
                <a:lnTo>
                  <a:pt x="1989128" y="418995"/>
                </a:lnTo>
                <a:lnTo>
                  <a:pt x="2102476" y="393438"/>
                </a:lnTo>
                <a:lnTo>
                  <a:pt x="2215549" y="366291"/>
                </a:lnTo>
                <a:lnTo>
                  <a:pt x="2330490" y="337455"/>
                </a:lnTo>
                <a:lnTo>
                  <a:pt x="2443333" y="308983"/>
                </a:lnTo>
                <a:lnTo>
                  <a:pt x="2558014" y="278646"/>
                </a:lnTo>
                <a:lnTo>
                  <a:pt x="2673621" y="247421"/>
                </a:lnTo>
                <a:lnTo>
                  <a:pt x="2787008" y="215853"/>
                </a:lnTo>
                <a:lnTo>
                  <a:pt x="2901442" y="182011"/>
                </a:lnTo>
                <a:lnTo>
                  <a:pt x="3015722" y="147286"/>
                </a:lnTo>
                <a:lnTo>
                  <a:pt x="3130018" y="112649"/>
                </a:lnTo>
                <a:lnTo>
                  <a:pt x="3243551" y="75688"/>
                </a:lnTo>
                <a:lnTo>
                  <a:pt x="3356992" y="38197"/>
                </a:lnTo>
                <a:lnTo>
                  <a:pt x="347031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 useBgFill="1">
        <p:nvSpPr>
          <p:cNvPr id="9" name="Freeform: Shape 13">
            <a:extLst>
              <a:ext uri="{FF2B5EF4-FFF2-40B4-BE49-F238E27FC236}">
                <a16:creationId xmlns:a16="http://schemas.microsoft.com/office/drawing/2014/main" id="{6A681326-1C9D-44A3-A627-3871BDAE41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1" y="1762067"/>
            <a:ext cx="12192417" cy="5095933"/>
          </a:xfrm>
          <a:custGeom>
            <a:avLst/>
            <a:gdLst>
              <a:gd name="connsiteX0" fmla="*/ 0 w 12192417"/>
              <a:gd name="connsiteY0" fmla="*/ 0 h 5095933"/>
              <a:gd name="connsiteX1" fmla="*/ 71931 w 12192417"/>
              <a:gd name="connsiteY1" fmla="*/ 12261 h 5095933"/>
              <a:gd name="connsiteX2" fmla="*/ 282848 w 12192417"/>
              <a:gd name="connsiteY2" fmla="*/ 48343 h 5095933"/>
              <a:gd name="connsiteX3" fmla="*/ 436463 w 12192417"/>
              <a:gd name="connsiteY3" fmla="*/ 73565 h 5095933"/>
              <a:gd name="connsiteX4" fmla="*/ 619338 w 12192417"/>
              <a:gd name="connsiteY4" fmla="*/ 100188 h 5095933"/>
              <a:gd name="connsiteX5" fmla="*/ 836350 w 12192417"/>
              <a:gd name="connsiteY5" fmla="*/ 132066 h 5095933"/>
              <a:gd name="connsiteX6" fmla="*/ 1076527 w 12192417"/>
              <a:gd name="connsiteY6" fmla="*/ 165696 h 5095933"/>
              <a:gd name="connsiteX7" fmla="*/ 1347183 w 12192417"/>
              <a:gd name="connsiteY7" fmla="*/ 201077 h 5095933"/>
              <a:gd name="connsiteX8" fmla="*/ 1642222 w 12192417"/>
              <a:gd name="connsiteY8" fmla="*/ 238560 h 5095933"/>
              <a:gd name="connsiteX9" fmla="*/ 1962863 w 12192417"/>
              <a:gd name="connsiteY9" fmla="*/ 276043 h 5095933"/>
              <a:gd name="connsiteX10" fmla="*/ 2304231 w 12192417"/>
              <a:gd name="connsiteY10" fmla="*/ 314227 h 5095933"/>
              <a:gd name="connsiteX11" fmla="*/ 2672420 w 12192417"/>
              <a:gd name="connsiteY11" fmla="*/ 349608 h 5095933"/>
              <a:gd name="connsiteX12" fmla="*/ 3057677 w 12192417"/>
              <a:gd name="connsiteY12" fmla="*/ 383588 h 5095933"/>
              <a:gd name="connsiteX13" fmla="*/ 3464880 w 12192417"/>
              <a:gd name="connsiteY13" fmla="*/ 414415 h 5095933"/>
              <a:gd name="connsiteX14" fmla="*/ 3889151 w 12192417"/>
              <a:gd name="connsiteY14" fmla="*/ 443841 h 5095933"/>
              <a:gd name="connsiteX15" fmla="*/ 4331709 w 12192417"/>
              <a:gd name="connsiteY15" fmla="*/ 471515 h 5095933"/>
              <a:gd name="connsiteX16" fmla="*/ 4558475 w 12192417"/>
              <a:gd name="connsiteY16" fmla="*/ 481324 h 5095933"/>
              <a:gd name="connsiteX17" fmla="*/ 4790117 w 12192417"/>
              <a:gd name="connsiteY17" fmla="*/ 492183 h 5095933"/>
              <a:gd name="connsiteX18" fmla="*/ 5025417 w 12192417"/>
              <a:gd name="connsiteY18" fmla="*/ 502342 h 5095933"/>
              <a:gd name="connsiteX19" fmla="*/ 5261936 w 12192417"/>
              <a:gd name="connsiteY19" fmla="*/ 508998 h 5095933"/>
              <a:gd name="connsiteX20" fmla="*/ 5503331 w 12192417"/>
              <a:gd name="connsiteY20" fmla="*/ 514953 h 5095933"/>
              <a:gd name="connsiteX21" fmla="*/ 5747166 w 12192417"/>
              <a:gd name="connsiteY21" fmla="*/ 521259 h 5095933"/>
              <a:gd name="connsiteX22" fmla="*/ 5995876 w 12192417"/>
              <a:gd name="connsiteY22" fmla="*/ 525463 h 5095933"/>
              <a:gd name="connsiteX23" fmla="*/ 6247025 w 12192417"/>
              <a:gd name="connsiteY23" fmla="*/ 525463 h 5095933"/>
              <a:gd name="connsiteX24" fmla="*/ 6500612 w 12192417"/>
              <a:gd name="connsiteY24" fmla="*/ 527565 h 5095933"/>
              <a:gd name="connsiteX25" fmla="*/ 6756638 w 12192417"/>
              <a:gd name="connsiteY25" fmla="*/ 525463 h 5095933"/>
              <a:gd name="connsiteX26" fmla="*/ 7016321 w 12192417"/>
              <a:gd name="connsiteY26" fmla="*/ 521259 h 5095933"/>
              <a:gd name="connsiteX27" fmla="*/ 7276004 w 12192417"/>
              <a:gd name="connsiteY27" fmla="*/ 517406 h 5095933"/>
              <a:gd name="connsiteX28" fmla="*/ 7539344 w 12192417"/>
              <a:gd name="connsiteY28" fmla="*/ 508998 h 5095933"/>
              <a:gd name="connsiteX29" fmla="*/ 7805123 w 12192417"/>
              <a:gd name="connsiteY29" fmla="*/ 500241 h 5095933"/>
              <a:gd name="connsiteX30" fmla="*/ 8070902 w 12192417"/>
              <a:gd name="connsiteY30" fmla="*/ 490082 h 5095933"/>
              <a:gd name="connsiteX31" fmla="*/ 8339120 w 12192417"/>
              <a:gd name="connsiteY31" fmla="*/ 475719 h 5095933"/>
              <a:gd name="connsiteX32" fmla="*/ 8609775 w 12192417"/>
              <a:gd name="connsiteY32" fmla="*/ 458554 h 5095933"/>
              <a:gd name="connsiteX33" fmla="*/ 8881650 w 12192417"/>
              <a:gd name="connsiteY33" fmla="*/ 442089 h 5095933"/>
              <a:gd name="connsiteX34" fmla="*/ 9153525 w 12192417"/>
              <a:gd name="connsiteY34" fmla="*/ 421071 h 5095933"/>
              <a:gd name="connsiteX35" fmla="*/ 9429057 w 12192417"/>
              <a:gd name="connsiteY35" fmla="*/ 395849 h 5095933"/>
              <a:gd name="connsiteX36" fmla="*/ 9700932 w 12192417"/>
              <a:gd name="connsiteY36" fmla="*/ 370626 h 5095933"/>
              <a:gd name="connsiteX37" fmla="*/ 9977683 w 12192417"/>
              <a:gd name="connsiteY37" fmla="*/ 341551 h 5095933"/>
              <a:gd name="connsiteX38" fmla="*/ 10255654 w 12192417"/>
              <a:gd name="connsiteY38" fmla="*/ 309673 h 5095933"/>
              <a:gd name="connsiteX39" fmla="*/ 10529967 w 12192417"/>
              <a:gd name="connsiteY39" fmla="*/ 276043 h 5095933"/>
              <a:gd name="connsiteX40" fmla="*/ 10807938 w 12192417"/>
              <a:gd name="connsiteY40" fmla="*/ 236809 h 5095933"/>
              <a:gd name="connsiteX41" fmla="*/ 11084689 w 12192417"/>
              <a:gd name="connsiteY41" fmla="*/ 194772 h 5095933"/>
              <a:gd name="connsiteX42" fmla="*/ 11362660 w 12192417"/>
              <a:gd name="connsiteY42" fmla="*/ 153085 h 5095933"/>
              <a:gd name="connsiteX43" fmla="*/ 11639411 w 12192417"/>
              <a:gd name="connsiteY43" fmla="*/ 104392 h 5095933"/>
              <a:gd name="connsiteX44" fmla="*/ 11914944 w 12192417"/>
              <a:gd name="connsiteY44" fmla="*/ 54648 h 5095933"/>
              <a:gd name="connsiteX45" fmla="*/ 12191695 w 12192417"/>
              <a:gd name="connsiteY45" fmla="*/ 2452 h 5095933"/>
              <a:gd name="connsiteX46" fmla="*/ 12191695 w 12192417"/>
              <a:gd name="connsiteY46" fmla="*/ 2162231 h 5095933"/>
              <a:gd name="connsiteX47" fmla="*/ 12192417 w 12192417"/>
              <a:gd name="connsiteY47" fmla="*/ 2162231 h 5095933"/>
              <a:gd name="connsiteX48" fmla="*/ 12192417 w 12192417"/>
              <a:gd name="connsiteY48" fmla="*/ 5095933 h 5095933"/>
              <a:gd name="connsiteX49" fmla="*/ 0 w 12192417"/>
              <a:gd name="connsiteY49" fmla="*/ 5095933 h 5095933"/>
              <a:gd name="connsiteX50" fmla="*/ 0 w 12192417"/>
              <a:gd name="connsiteY50" fmla="*/ 2791958 h 5095933"/>
              <a:gd name="connsiteX51" fmla="*/ 0 w 12192417"/>
              <a:gd name="connsiteY51" fmla="*/ 2162231 h 509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2192417" h="5095933">
                <a:moveTo>
                  <a:pt x="0" y="0"/>
                </a:moveTo>
                <a:lnTo>
                  <a:pt x="71931" y="12261"/>
                </a:lnTo>
                <a:lnTo>
                  <a:pt x="282848" y="48343"/>
                </a:lnTo>
                <a:lnTo>
                  <a:pt x="436463" y="73565"/>
                </a:lnTo>
                <a:lnTo>
                  <a:pt x="619338" y="100188"/>
                </a:lnTo>
                <a:lnTo>
                  <a:pt x="836350" y="132066"/>
                </a:lnTo>
                <a:lnTo>
                  <a:pt x="1076527" y="165696"/>
                </a:lnTo>
                <a:lnTo>
                  <a:pt x="1347183" y="201077"/>
                </a:lnTo>
                <a:lnTo>
                  <a:pt x="1642222" y="238560"/>
                </a:lnTo>
                <a:lnTo>
                  <a:pt x="1962863" y="276043"/>
                </a:lnTo>
                <a:lnTo>
                  <a:pt x="2304231" y="314227"/>
                </a:lnTo>
                <a:lnTo>
                  <a:pt x="2672420" y="349608"/>
                </a:lnTo>
                <a:lnTo>
                  <a:pt x="3057677" y="383588"/>
                </a:lnTo>
                <a:lnTo>
                  <a:pt x="3464880" y="414415"/>
                </a:lnTo>
                <a:lnTo>
                  <a:pt x="3889151" y="443841"/>
                </a:lnTo>
                <a:lnTo>
                  <a:pt x="4331709" y="471515"/>
                </a:lnTo>
                <a:lnTo>
                  <a:pt x="4558475" y="481324"/>
                </a:lnTo>
                <a:lnTo>
                  <a:pt x="4790117" y="492183"/>
                </a:lnTo>
                <a:lnTo>
                  <a:pt x="5025417" y="502342"/>
                </a:lnTo>
                <a:lnTo>
                  <a:pt x="5261936" y="508998"/>
                </a:lnTo>
                <a:lnTo>
                  <a:pt x="5503331" y="514953"/>
                </a:lnTo>
                <a:lnTo>
                  <a:pt x="5747166" y="521259"/>
                </a:lnTo>
                <a:lnTo>
                  <a:pt x="5995876" y="525463"/>
                </a:lnTo>
                <a:lnTo>
                  <a:pt x="6247025" y="525463"/>
                </a:lnTo>
                <a:lnTo>
                  <a:pt x="6500612" y="527565"/>
                </a:lnTo>
                <a:lnTo>
                  <a:pt x="6756638" y="525463"/>
                </a:lnTo>
                <a:lnTo>
                  <a:pt x="7016321" y="521259"/>
                </a:lnTo>
                <a:lnTo>
                  <a:pt x="7276004" y="517406"/>
                </a:lnTo>
                <a:lnTo>
                  <a:pt x="7539344" y="508998"/>
                </a:lnTo>
                <a:lnTo>
                  <a:pt x="7805123" y="500241"/>
                </a:lnTo>
                <a:lnTo>
                  <a:pt x="8070902" y="490082"/>
                </a:lnTo>
                <a:lnTo>
                  <a:pt x="8339120" y="475719"/>
                </a:lnTo>
                <a:lnTo>
                  <a:pt x="8609775" y="458554"/>
                </a:lnTo>
                <a:lnTo>
                  <a:pt x="8881650" y="442089"/>
                </a:lnTo>
                <a:lnTo>
                  <a:pt x="9153525" y="421071"/>
                </a:lnTo>
                <a:lnTo>
                  <a:pt x="9429057" y="395849"/>
                </a:lnTo>
                <a:lnTo>
                  <a:pt x="9700932" y="370626"/>
                </a:lnTo>
                <a:lnTo>
                  <a:pt x="9977683" y="341551"/>
                </a:lnTo>
                <a:lnTo>
                  <a:pt x="10255654" y="309673"/>
                </a:lnTo>
                <a:lnTo>
                  <a:pt x="10529967" y="276043"/>
                </a:lnTo>
                <a:lnTo>
                  <a:pt x="10807938" y="236809"/>
                </a:lnTo>
                <a:lnTo>
                  <a:pt x="11084689" y="194772"/>
                </a:lnTo>
                <a:lnTo>
                  <a:pt x="11362660" y="153085"/>
                </a:lnTo>
                <a:lnTo>
                  <a:pt x="11639411" y="104392"/>
                </a:lnTo>
                <a:lnTo>
                  <a:pt x="11914944" y="54648"/>
                </a:lnTo>
                <a:lnTo>
                  <a:pt x="12191695" y="2452"/>
                </a:lnTo>
                <a:lnTo>
                  <a:pt x="12191695" y="2162231"/>
                </a:lnTo>
                <a:lnTo>
                  <a:pt x="12192417" y="2162231"/>
                </a:lnTo>
                <a:lnTo>
                  <a:pt x="12192417" y="5095933"/>
                </a:lnTo>
                <a:lnTo>
                  <a:pt x="0" y="5095933"/>
                </a:lnTo>
                <a:lnTo>
                  <a:pt x="0" y="2791958"/>
                </a:lnTo>
                <a:lnTo>
                  <a:pt x="0" y="2162231"/>
                </a:lnTo>
                <a:close/>
              </a:path>
            </a:pathLst>
          </a:custGeom>
          <a:ln>
            <a:noFill/>
          </a:ln>
        </p:spPr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52DEB6-587F-4410-838F-3EA0BE6739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3312" y="452718"/>
            <a:ext cx="8947522" cy="1400530"/>
          </a:xfrm>
        </p:spPr>
        <p:txBody>
          <a:bodyPr anchor="ctr">
            <a:normAutofit/>
          </a:bodyPr>
          <a:lstStyle/>
          <a:p>
            <a:r>
              <a:rPr lang="en-US">
                <a:solidFill>
                  <a:srgbClr val="FFFFFF"/>
                </a:solidFill>
              </a:rPr>
              <a:t>Identity Management</a:t>
            </a:r>
          </a:p>
        </p:txBody>
      </p:sp>
      <p:pic>
        <p:nvPicPr>
          <p:cNvPr id="2052" name="Picture 4" descr="diagram of IAM service components">
            <a:extLst>
              <a:ext uri="{FF2B5EF4-FFF2-40B4-BE49-F238E27FC236}">
                <a16:creationId xmlns:a16="http://schemas.microsoft.com/office/drawing/2014/main" id="{13EF145E-75CD-6CE7-BAFF-6F8563FADB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50" t="5890" r="4909" b="6420"/>
          <a:stretch/>
        </p:blipFill>
        <p:spPr bwMode="auto">
          <a:xfrm>
            <a:off x="3238500" y="2286162"/>
            <a:ext cx="5200650" cy="4578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63426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74CD14DB-BB81-479F-A1FC-1C75640E9F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C943A91B-7CA7-4592-A975-73B1BF8C4C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EC471314-E46A-414B-8D91-74880E84F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719939" y="1460230"/>
            <a:ext cx="3472060" cy="825932"/>
          </a:xfrm>
          <a:custGeom>
            <a:avLst/>
            <a:gdLst>
              <a:gd name="connsiteX0" fmla="*/ 3470310 w 3472060"/>
              <a:gd name="connsiteY0" fmla="*/ 0 h 825932"/>
              <a:gd name="connsiteX1" fmla="*/ 3472060 w 3472060"/>
              <a:gd name="connsiteY1" fmla="*/ 12850 h 825932"/>
              <a:gd name="connsiteX2" fmla="*/ 3472060 w 3472060"/>
              <a:gd name="connsiteY2" fmla="*/ 480529 h 825932"/>
              <a:gd name="connsiteX3" fmla="*/ 3363699 w 3472060"/>
              <a:gd name="connsiteY3" fmla="*/ 498471 h 825932"/>
              <a:gd name="connsiteX4" fmla="*/ 42060 w 3472060"/>
              <a:gd name="connsiteY4" fmla="*/ 824486 h 825932"/>
              <a:gd name="connsiteX5" fmla="*/ 0 w 3472060"/>
              <a:gd name="connsiteY5" fmla="*/ 758452 h 825932"/>
              <a:gd name="connsiteX6" fmla="*/ 188014 w 3472060"/>
              <a:gd name="connsiteY6" fmla="*/ 735602 h 825932"/>
              <a:gd name="connsiteX7" fmla="*/ 284087 w 3472060"/>
              <a:gd name="connsiteY7" fmla="*/ 722590 h 825932"/>
              <a:gd name="connsiteX8" fmla="*/ 382288 w 3472060"/>
              <a:gd name="connsiteY8" fmla="*/ 709392 h 825932"/>
              <a:gd name="connsiteX9" fmla="*/ 481858 w 3472060"/>
              <a:gd name="connsiteY9" fmla="*/ 695774 h 825932"/>
              <a:gd name="connsiteX10" fmla="*/ 581897 w 3472060"/>
              <a:gd name="connsiteY10" fmla="*/ 680711 h 825932"/>
              <a:gd name="connsiteX11" fmla="*/ 683670 w 3472060"/>
              <a:gd name="connsiteY11" fmla="*/ 665256 h 825932"/>
              <a:gd name="connsiteX12" fmla="*/ 787206 w 3472060"/>
              <a:gd name="connsiteY12" fmla="*/ 649587 h 825932"/>
              <a:gd name="connsiteX13" fmla="*/ 892019 w 3472060"/>
              <a:gd name="connsiteY13" fmla="*/ 632968 h 825932"/>
              <a:gd name="connsiteX14" fmla="*/ 997620 w 3472060"/>
              <a:gd name="connsiteY14" fmla="*/ 614667 h 825932"/>
              <a:gd name="connsiteX15" fmla="*/ 1104727 w 3472060"/>
              <a:gd name="connsiteY15" fmla="*/ 596741 h 825932"/>
              <a:gd name="connsiteX16" fmla="*/ 1212669 w 3472060"/>
              <a:gd name="connsiteY16" fmla="*/ 577397 h 825932"/>
              <a:gd name="connsiteX17" fmla="*/ 1321506 w 3472060"/>
              <a:gd name="connsiteY17" fmla="*/ 556988 h 825932"/>
              <a:gd name="connsiteX18" fmla="*/ 1430709 w 3472060"/>
              <a:gd name="connsiteY18" fmla="*/ 536607 h 825932"/>
              <a:gd name="connsiteX19" fmla="*/ 1541050 w 3472060"/>
              <a:gd name="connsiteY19" fmla="*/ 514481 h 825932"/>
              <a:gd name="connsiteX20" fmla="*/ 1652805 w 3472060"/>
              <a:gd name="connsiteY20" fmla="*/ 492202 h 825932"/>
              <a:gd name="connsiteX21" fmla="*/ 1763708 w 3472060"/>
              <a:gd name="connsiteY21" fmla="*/ 469161 h 825932"/>
              <a:gd name="connsiteX22" fmla="*/ 1875795 w 3472060"/>
              <a:gd name="connsiteY22" fmla="*/ 444641 h 825932"/>
              <a:gd name="connsiteX23" fmla="*/ 1989128 w 3472060"/>
              <a:gd name="connsiteY23" fmla="*/ 418995 h 825932"/>
              <a:gd name="connsiteX24" fmla="*/ 2102476 w 3472060"/>
              <a:gd name="connsiteY24" fmla="*/ 393438 h 825932"/>
              <a:gd name="connsiteX25" fmla="*/ 2215549 w 3472060"/>
              <a:gd name="connsiteY25" fmla="*/ 366291 h 825932"/>
              <a:gd name="connsiteX26" fmla="*/ 2330490 w 3472060"/>
              <a:gd name="connsiteY26" fmla="*/ 337455 h 825932"/>
              <a:gd name="connsiteX27" fmla="*/ 2443333 w 3472060"/>
              <a:gd name="connsiteY27" fmla="*/ 308983 h 825932"/>
              <a:gd name="connsiteX28" fmla="*/ 2558014 w 3472060"/>
              <a:gd name="connsiteY28" fmla="*/ 278646 h 825932"/>
              <a:gd name="connsiteX29" fmla="*/ 2673621 w 3472060"/>
              <a:gd name="connsiteY29" fmla="*/ 247421 h 825932"/>
              <a:gd name="connsiteX30" fmla="*/ 2787008 w 3472060"/>
              <a:gd name="connsiteY30" fmla="*/ 215853 h 825932"/>
              <a:gd name="connsiteX31" fmla="*/ 2901442 w 3472060"/>
              <a:gd name="connsiteY31" fmla="*/ 182011 h 825932"/>
              <a:gd name="connsiteX32" fmla="*/ 3015722 w 3472060"/>
              <a:gd name="connsiteY32" fmla="*/ 147286 h 825932"/>
              <a:gd name="connsiteX33" fmla="*/ 3130018 w 3472060"/>
              <a:gd name="connsiteY33" fmla="*/ 112649 h 825932"/>
              <a:gd name="connsiteX34" fmla="*/ 3243551 w 3472060"/>
              <a:gd name="connsiteY34" fmla="*/ 75688 h 825932"/>
              <a:gd name="connsiteX35" fmla="*/ 3356992 w 3472060"/>
              <a:gd name="connsiteY35" fmla="*/ 38197 h 825932"/>
              <a:gd name="connsiteX36" fmla="*/ 3470310 w 3472060"/>
              <a:gd name="connsiteY36" fmla="*/ 0 h 825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472060" h="825932">
                <a:moveTo>
                  <a:pt x="3470310" y="0"/>
                </a:moveTo>
                <a:lnTo>
                  <a:pt x="3472060" y="12850"/>
                </a:lnTo>
                <a:lnTo>
                  <a:pt x="3472060" y="480529"/>
                </a:lnTo>
                <a:lnTo>
                  <a:pt x="3363699" y="498471"/>
                </a:lnTo>
                <a:cubicBezTo>
                  <a:pt x="2435623" y="645518"/>
                  <a:pt x="603076" y="844866"/>
                  <a:pt x="42060" y="824486"/>
                </a:cubicBezTo>
                <a:cubicBezTo>
                  <a:pt x="28151" y="802425"/>
                  <a:pt x="13909" y="780513"/>
                  <a:pt x="0" y="758452"/>
                </a:cubicBezTo>
                <a:lnTo>
                  <a:pt x="188014" y="735602"/>
                </a:lnTo>
                <a:lnTo>
                  <a:pt x="284087" y="722590"/>
                </a:lnTo>
                <a:lnTo>
                  <a:pt x="382288" y="709392"/>
                </a:lnTo>
                <a:lnTo>
                  <a:pt x="481858" y="695774"/>
                </a:lnTo>
                <a:lnTo>
                  <a:pt x="581897" y="680711"/>
                </a:lnTo>
                <a:lnTo>
                  <a:pt x="683670" y="665256"/>
                </a:lnTo>
                <a:lnTo>
                  <a:pt x="787206" y="649587"/>
                </a:lnTo>
                <a:lnTo>
                  <a:pt x="892019" y="632968"/>
                </a:lnTo>
                <a:lnTo>
                  <a:pt x="997620" y="614667"/>
                </a:lnTo>
                <a:lnTo>
                  <a:pt x="1104727" y="596741"/>
                </a:lnTo>
                <a:lnTo>
                  <a:pt x="1212669" y="577397"/>
                </a:lnTo>
                <a:lnTo>
                  <a:pt x="1321506" y="556988"/>
                </a:lnTo>
                <a:lnTo>
                  <a:pt x="1430709" y="536607"/>
                </a:lnTo>
                <a:lnTo>
                  <a:pt x="1541050" y="514481"/>
                </a:lnTo>
                <a:lnTo>
                  <a:pt x="1652805" y="492202"/>
                </a:lnTo>
                <a:lnTo>
                  <a:pt x="1763708" y="469161"/>
                </a:lnTo>
                <a:lnTo>
                  <a:pt x="1875795" y="444641"/>
                </a:lnTo>
                <a:lnTo>
                  <a:pt x="1989128" y="418995"/>
                </a:lnTo>
                <a:lnTo>
                  <a:pt x="2102476" y="393438"/>
                </a:lnTo>
                <a:lnTo>
                  <a:pt x="2215549" y="366291"/>
                </a:lnTo>
                <a:lnTo>
                  <a:pt x="2330490" y="337455"/>
                </a:lnTo>
                <a:lnTo>
                  <a:pt x="2443333" y="308983"/>
                </a:lnTo>
                <a:lnTo>
                  <a:pt x="2558014" y="278646"/>
                </a:lnTo>
                <a:lnTo>
                  <a:pt x="2673621" y="247421"/>
                </a:lnTo>
                <a:lnTo>
                  <a:pt x="2787008" y="215853"/>
                </a:lnTo>
                <a:lnTo>
                  <a:pt x="2901442" y="182011"/>
                </a:lnTo>
                <a:lnTo>
                  <a:pt x="3015722" y="147286"/>
                </a:lnTo>
                <a:lnTo>
                  <a:pt x="3130018" y="112649"/>
                </a:lnTo>
                <a:lnTo>
                  <a:pt x="3243551" y="75688"/>
                </a:lnTo>
                <a:lnTo>
                  <a:pt x="3356992" y="38197"/>
                </a:lnTo>
                <a:lnTo>
                  <a:pt x="347031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 useBgFill="1">
        <p:nvSpPr>
          <p:cNvPr id="9" name="Freeform: Shape 13">
            <a:extLst>
              <a:ext uri="{FF2B5EF4-FFF2-40B4-BE49-F238E27FC236}">
                <a16:creationId xmlns:a16="http://schemas.microsoft.com/office/drawing/2014/main" id="{6A681326-1C9D-44A3-A627-3871BDAE41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1" y="1762067"/>
            <a:ext cx="12192417" cy="5095933"/>
          </a:xfrm>
          <a:custGeom>
            <a:avLst/>
            <a:gdLst>
              <a:gd name="connsiteX0" fmla="*/ 0 w 12192417"/>
              <a:gd name="connsiteY0" fmla="*/ 0 h 5095933"/>
              <a:gd name="connsiteX1" fmla="*/ 71931 w 12192417"/>
              <a:gd name="connsiteY1" fmla="*/ 12261 h 5095933"/>
              <a:gd name="connsiteX2" fmla="*/ 282848 w 12192417"/>
              <a:gd name="connsiteY2" fmla="*/ 48343 h 5095933"/>
              <a:gd name="connsiteX3" fmla="*/ 436463 w 12192417"/>
              <a:gd name="connsiteY3" fmla="*/ 73565 h 5095933"/>
              <a:gd name="connsiteX4" fmla="*/ 619338 w 12192417"/>
              <a:gd name="connsiteY4" fmla="*/ 100188 h 5095933"/>
              <a:gd name="connsiteX5" fmla="*/ 836350 w 12192417"/>
              <a:gd name="connsiteY5" fmla="*/ 132066 h 5095933"/>
              <a:gd name="connsiteX6" fmla="*/ 1076527 w 12192417"/>
              <a:gd name="connsiteY6" fmla="*/ 165696 h 5095933"/>
              <a:gd name="connsiteX7" fmla="*/ 1347183 w 12192417"/>
              <a:gd name="connsiteY7" fmla="*/ 201077 h 5095933"/>
              <a:gd name="connsiteX8" fmla="*/ 1642222 w 12192417"/>
              <a:gd name="connsiteY8" fmla="*/ 238560 h 5095933"/>
              <a:gd name="connsiteX9" fmla="*/ 1962863 w 12192417"/>
              <a:gd name="connsiteY9" fmla="*/ 276043 h 5095933"/>
              <a:gd name="connsiteX10" fmla="*/ 2304231 w 12192417"/>
              <a:gd name="connsiteY10" fmla="*/ 314227 h 5095933"/>
              <a:gd name="connsiteX11" fmla="*/ 2672420 w 12192417"/>
              <a:gd name="connsiteY11" fmla="*/ 349608 h 5095933"/>
              <a:gd name="connsiteX12" fmla="*/ 3057677 w 12192417"/>
              <a:gd name="connsiteY12" fmla="*/ 383588 h 5095933"/>
              <a:gd name="connsiteX13" fmla="*/ 3464880 w 12192417"/>
              <a:gd name="connsiteY13" fmla="*/ 414415 h 5095933"/>
              <a:gd name="connsiteX14" fmla="*/ 3889151 w 12192417"/>
              <a:gd name="connsiteY14" fmla="*/ 443841 h 5095933"/>
              <a:gd name="connsiteX15" fmla="*/ 4331709 w 12192417"/>
              <a:gd name="connsiteY15" fmla="*/ 471515 h 5095933"/>
              <a:gd name="connsiteX16" fmla="*/ 4558475 w 12192417"/>
              <a:gd name="connsiteY16" fmla="*/ 481324 h 5095933"/>
              <a:gd name="connsiteX17" fmla="*/ 4790117 w 12192417"/>
              <a:gd name="connsiteY17" fmla="*/ 492183 h 5095933"/>
              <a:gd name="connsiteX18" fmla="*/ 5025417 w 12192417"/>
              <a:gd name="connsiteY18" fmla="*/ 502342 h 5095933"/>
              <a:gd name="connsiteX19" fmla="*/ 5261936 w 12192417"/>
              <a:gd name="connsiteY19" fmla="*/ 508998 h 5095933"/>
              <a:gd name="connsiteX20" fmla="*/ 5503331 w 12192417"/>
              <a:gd name="connsiteY20" fmla="*/ 514953 h 5095933"/>
              <a:gd name="connsiteX21" fmla="*/ 5747166 w 12192417"/>
              <a:gd name="connsiteY21" fmla="*/ 521259 h 5095933"/>
              <a:gd name="connsiteX22" fmla="*/ 5995876 w 12192417"/>
              <a:gd name="connsiteY22" fmla="*/ 525463 h 5095933"/>
              <a:gd name="connsiteX23" fmla="*/ 6247025 w 12192417"/>
              <a:gd name="connsiteY23" fmla="*/ 525463 h 5095933"/>
              <a:gd name="connsiteX24" fmla="*/ 6500612 w 12192417"/>
              <a:gd name="connsiteY24" fmla="*/ 527565 h 5095933"/>
              <a:gd name="connsiteX25" fmla="*/ 6756638 w 12192417"/>
              <a:gd name="connsiteY25" fmla="*/ 525463 h 5095933"/>
              <a:gd name="connsiteX26" fmla="*/ 7016321 w 12192417"/>
              <a:gd name="connsiteY26" fmla="*/ 521259 h 5095933"/>
              <a:gd name="connsiteX27" fmla="*/ 7276004 w 12192417"/>
              <a:gd name="connsiteY27" fmla="*/ 517406 h 5095933"/>
              <a:gd name="connsiteX28" fmla="*/ 7539344 w 12192417"/>
              <a:gd name="connsiteY28" fmla="*/ 508998 h 5095933"/>
              <a:gd name="connsiteX29" fmla="*/ 7805123 w 12192417"/>
              <a:gd name="connsiteY29" fmla="*/ 500241 h 5095933"/>
              <a:gd name="connsiteX30" fmla="*/ 8070902 w 12192417"/>
              <a:gd name="connsiteY30" fmla="*/ 490082 h 5095933"/>
              <a:gd name="connsiteX31" fmla="*/ 8339120 w 12192417"/>
              <a:gd name="connsiteY31" fmla="*/ 475719 h 5095933"/>
              <a:gd name="connsiteX32" fmla="*/ 8609775 w 12192417"/>
              <a:gd name="connsiteY32" fmla="*/ 458554 h 5095933"/>
              <a:gd name="connsiteX33" fmla="*/ 8881650 w 12192417"/>
              <a:gd name="connsiteY33" fmla="*/ 442089 h 5095933"/>
              <a:gd name="connsiteX34" fmla="*/ 9153525 w 12192417"/>
              <a:gd name="connsiteY34" fmla="*/ 421071 h 5095933"/>
              <a:gd name="connsiteX35" fmla="*/ 9429057 w 12192417"/>
              <a:gd name="connsiteY35" fmla="*/ 395849 h 5095933"/>
              <a:gd name="connsiteX36" fmla="*/ 9700932 w 12192417"/>
              <a:gd name="connsiteY36" fmla="*/ 370626 h 5095933"/>
              <a:gd name="connsiteX37" fmla="*/ 9977683 w 12192417"/>
              <a:gd name="connsiteY37" fmla="*/ 341551 h 5095933"/>
              <a:gd name="connsiteX38" fmla="*/ 10255654 w 12192417"/>
              <a:gd name="connsiteY38" fmla="*/ 309673 h 5095933"/>
              <a:gd name="connsiteX39" fmla="*/ 10529967 w 12192417"/>
              <a:gd name="connsiteY39" fmla="*/ 276043 h 5095933"/>
              <a:gd name="connsiteX40" fmla="*/ 10807938 w 12192417"/>
              <a:gd name="connsiteY40" fmla="*/ 236809 h 5095933"/>
              <a:gd name="connsiteX41" fmla="*/ 11084689 w 12192417"/>
              <a:gd name="connsiteY41" fmla="*/ 194772 h 5095933"/>
              <a:gd name="connsiteX42" fmla="*/ 11362660 w 12192417"/>
              <a:gd name="connsiteY42" fmla="*/ 153085 h 5095933"/>
              <a:gd name="connsiteX43" fmla="*/ 11639411 w 12192417"/>
              <a:gd name="connsiteY43" fmla="*/ 104392 h 5095933"/>
              <a:gd name="connsiteX44" fmla="*/ 11914944 w 12192417"/>
              <a:gd name="connsiteY44" fmla="*/ 54648 h 5095933"/>
              <a:gd name="connsiteX45" fmla="*/ 12191695 w 12192417"/>
              <a:gd name="connsiteY45" fmla="*/ 2452 h 5095933"/>
              <a:gd name="connsiteX46" fmla="*/ 12191695 w 12192417"/>
              <a:gd name="connsiteY46" fmla="*/ 2162231 h 5095933"/>
              <a:gd name="connsiteX47" fmla="*/ 12192417 w 12192417"/>
              <a:gd name="connsiteY47" fmla="*/ 2162231 h 5095933"/>
              <a:gd name="connsiteX48" fmla="*/ 12192417 w 12192417"/>
              <a:gd name="connsiteY48" fmla="*/ 5095933 h 5095933"/>
              <a:gd name="connsiteX49" fmla="*/ 0 w 12192417"/>
              <a:gd name="connsiteY49" fmla="*/ 5095933 h 5095933"/>
              <a:gd name="connsiteX50" fmla="*/ 0 w 12192417"/>
              <a:gd name="connsiteY50" fmla="*/ 2791958 h 5095933"/>
              <a:gd name="connsiteX51" fmla="*/ 0 w 12192417"/>
              <a:gd name="connsiteY51" fmla="*/ 2162231 h 509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2192417" h="5095933">
                <a:moveTo>
                  <a:pt x="0" y="0"/>
                </a:moveTo>
                <a:lnTo>
                  <a:pt x="71931" y="12261"/>
                </a:lnTo>
                <a:lnTo>
                  <a:pt x="282848" y="48343"/>
                </a:lnTo>
                <a:lnTo>
                  <a:pt x="436463" y="73565"/>
                </a:lnTo>
                <a:lnTo>
                  <a:pt x="619338" y="100188"/>
                </a:lnTo>
                <a:lnTo>
                  <a:pt x="836350" y="132066"/>
                </a:lnTo>
                <a:lnTo>
                  <a:pt x="1076527" y="165696"/>
                </a:lnTo>
                <a:lnTo>
                  <a:pt x="1347183" y="201077"/>
                </a:lnTo>
                <a:lnTo>
                  <a:pt x="1642222" y="238560"/>
                </a:lnTo>
                <a:lnTo>
                  <a:pt x="1962863" y="276043"/>
                </a:lnTo>
                <a:lnTo>
                  <a:pt x="2304231" y="314227"/>
                </a:lnTo>
                <a:lnTo>
                  <a:pt x="2672420" y="349608"/>
                </a:lnTo>
                <a:lnTo>
                  <a:pt x="3057677" y="383588"/>
                </a:lnTo>
                <a:lnTo>
                  <a:pt x="3464880" y="414415"/>
                </a:lnTo>
                <a:lnTo>
                  <a:pt x="3889151" y="443841"/>
                </a:lnTo>
                <a:lnTo>
                  <a:pt x="4331709" y="471515"/>
                </a:lnTo>
                <a:lnTo>
                  <a:pt x="4558475" y="481324"/>
                </a:lnTo>
                <a:lnTo>
                  <a:pt x="4790117" y="492183"/>
                </a:lnTo>
                <a:lnTo>
                  <a:pt x="5025417" y="502342"/>
                </a:lnTo>
                <a:lnTo>
                  <a:pt x="5261936" y="508998"/>
                </a:lnTo>
                <a:lnTo>
                  <a:pt x="5503331" y="514953"/>
                </a:lnTo>
                <a:lnTo>
                  <a:pt x="5747166" y="521259"/>
                </a:lnTo>
                <a:lnTo>
                  <a:pt x="5995876" y="525463"/>
                </a:lnTo>
                <a:lnTo>
                  <a:pt x="6247025" y="525463"/>
                </a:lnTo>
                <a:lnTo>
                  <a:pt x="6500612" y="527565"/>
                </a:lnTo>
                <a:lnTo>
                  <a:pt x="6756638" y="525463"/>
                </a:lnTo>
                <a:lnTo>
                  <a:pt x="7016321" y="521259"/>
                </a:lnTo>
                <a:lnTo>
                  <a:pt x="7276004" y="517406"/>
                </a:lnTo>
                <a:lnTo>
                  <a:pt x="7539344" y="508998"/>
                </a:lnTo>
                <a:lnTo>
                  <a:pt x="7805123" y="500241"/>
                </a:lnTo>
                <a:lnTo>
                  <a:pt x="8070902" y="490082"/>
                </a:lnTo>
                <a:lnTo>
                  <a:pt x="8339120" y="475719"/>
                </a:lnTo>
                <a:lnTo>
                  <a:pt x="8609775" y="458554"/>
                </a:lnTo>
                <a:lnTo>
                  <a:pt x="8881650" y="442089"/>
                </a:lnTo>
                <a:lnTo>
                  <a:pt x="9153525" y="421071"/>
                </a:lnTo>
                <a:lnTo>
                  <a:pt x="9429057" y="395849"/>
                </a:lnTo>
                <a:lnTo>
                  <a:pt x="9700932" y="370626"/>
                </a:lnTo>
                <a:lnTo>
                  <a:pt x="9977683" y="341551"/>
                </a:lnTo>
                <a:lnTo>
                  <a:pt x="10255654" y="309673"/>
                </a:lnTo>
                <a:lnTo>
                  <a:pt x="10529967" y="276043"/>
                </a:lnTo>
                <a:lnTo>
                  <a:pt x="10807938" y="236809"/>
                </a:lnTo>
                <a:lnTo>
                  <a:pt x="11084689" y="194772"/>
                </a:lnTo>
                <a:lnTo>
                  <a:pt x="11362660" y="153085"/>
                </a:lnTo>
                <a:lnTo>
                  <a:pt x="11639411" y="104392"/>
                </a:lnTo>
                <a:lnTo>
                  <a:pt x="11914944" y="54648"/>
                </a:lnTo>
                <a:lnTo>
                  <a:pt x="12191695" y="2452"/>
                </a:lnTo>
                <a:lnTo>
                  <a:pt x="12191695" y="2162231"/>
                </a:lnTo>
                <a:lnTo>
                  <a:pt x="12192417" y="2162231"/>
                </a:lnTo>
                <a:lnTo>
                  <a:pt x="12192417" y="5095933"/>
                </a:lnTo>
                <a:lnTo>
                  <a:pt x="0" y="5095933"/>
                </a:lnTo>
                <a:lnTo>
                  <a:pt x="0" y="2791958"/>
                </a:lnTo>
                <a:lnTo>
                  <a:pt x="0" y="2162231"/>
                </a:lnTo>
                <a:close/>
              </a:path>
            </a:pathLst>
          </a:custGeom>
          <a:ln>
            <a:noFill/>
          </a:ln>
        </p:spPr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52DEB6-587F-4410-838F-3EA0BE6739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3312" y="452718"/>
            <a:ext cx="8947522" cy="1400530"/>
          </a:xfrm>
        </p:spPr>
        <p:txBody>
          <a:bodyPr anchor="ctr">
            <a:normAutofit/>
          </a:bodyPr>
          <a:lstStyle/>
          <a:p>
            <a:r>
              <a:rPr lang="en-US">
                <a:solidFill>
                  <a:srgbClr val="FFFFFF"/>
                </a:solidFill>
              </a:rPr>
              <a:t>Office 365 &amp; Azur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0325E80-61D6-4285-9DDD-62C3972F7D39}"/>
              </a:ext>
            </a:extLst>
          </p:cNvPr>
          <p:cNvSpPr txBox="1"/>
          <p:nvPr/>
        </p:nvSpPr>
        <p:spPr>
          <a:xfrm>
            <a:off x="1103312" y="3429000"/>
            <a:ext cx="5054595" cy="175432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Management and support of Office 36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Management and support of Az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ea typeface="+mn-lt"/>
                <a:cs typeface="+mn-lt"/>
              </a:rPr>
              <a:t>Security Posture</a:t>
            </a: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</p:txBody>
      </p:sp>
      <p:pic>
        <p:nvPicPr>
          <p:cNvPr id="1028" name="Picture 4" descr="Microsoft Office 365 and Azure Solutions | T. Daniels Consulting">
            <a:extLst>
              <a:ext uri="{FF2B5EF4-FFF2-40B4-BE49-F238E27FC236}">
                <a16:creationId xmlns:a16="http://schemas.microsoft.com/office/drawing/2014/main" id="{57A36E7E-4DB0-7AD1-A41A-9BFDC9C15C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3677" y="2860760"/>
            <a:ext cx="4535011" cy="3262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7900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74CD14DB-BB81-479F-A1FC-1C75640E9F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C943A91B-7CA7-4592-A975-73B1BF8C4C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EC471314-E46A-414B-8D91-74880E84F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719939" y="1460230"/>
            <a:ext cx="3472060" cy="825932"/>
          </a:xfrm>
          <a:custGeom>
            <a:avLst/>
            <a:gdLst>
              <a:gd name="connsiteX0" fmla="*/ 3470310 w 3472060"/>
              <a:gd name="connsiteY0" fmla="*/ 0 h 825932"/>
              <a:gd name="connsiteX1" fmla="*/ 3472060 w 3472060"/>
              <a:gd name="connsiteY1" fmla="*/ 12850 h 825932"/>
              <a:gd name="connsiteX2" fmla="*/ 3472060 w 3472060"/>
              <a:gd name="connsiteY2" fmla="*/ 480529 h 825932"/>
              <a:gd name="connsiteX3" fmla="*/ 3363699 w 3472060"/>
              <a:gd name="connsiteY3" fmla="*/ 498471 h 825932"/>
              <a:gd name="connsiteX4" fmla="*/ 42060 w 3472060"/>
              <a:gd name="connsiteY4" fmla="*/ 824486 h 825932"/>
              <a:gd name="connsiteX5" fmla="*/ 0 w 3472060"/>
              <a:gd name="connsiteY5" fmla="*/ 758452 h 825932"/>
              <a:gd name="connsiteX6" fmla="*/ 188014 w 3472060"/>
              <a:gd name="connsiteY6" fmla="*/ 735602 h 825932"/>
              <a:gd name="connsiteX7" fmla="*/ 284087 w 3472060"/>
              <a:gd name="connsiteY7" fmla="*/ 722590 h 825932"/>
              <a:gd name="connsiteX8" fmla="*/ 382288 w 3472060"/>
              <a:gd name="connsiteY8" fmla="*/ 709392 h 825932"/>
              <a:gd name="connsiteX9" fmla="*/ 481858 w 3472060"/>
              <a:gd name="connsiteY9" fmla="*/ 695774 h 825932"/>
              <a:gd name="connsiteX10" fmla="*/ 581897 w 3472060"/>
              <a:gd name="connsiteY10" fmla="*/ 680711 h 825932"/>
              <a:gd name="connsiteX11" fmla="*/ 683670 w 3472060"/>
              <a:gd name="connsiteY11" fmla="*/ 665256 h 825932"/>
              <a:gd name="connsiteX12" fmla="*/ 787206 w 3472060"/>
              <a:gd name="connsiteY12" fmla="*/ 649587 h 825932"/>
              <a:gd name="connsiteX13" fmla="*/ 892019 w 3472060"/>
              <a:gd name="connsiteY13" fmla="*/ 632968 h 825932"/>
              <a:gd name="connsiteX14" fmla="*/ 997620 w 3472060"/>
              <a:gd name="connsiteY14" fmla="*/ 614667 h 825932"/>
              <a:gd name="connsiteX15" fmla="*/ 1104727 w 3472060"/>
              <a:gd name="connsiteY15" fmla="*/ 596741 h 825932"/>
              <a:gd name="connsiteX16" fmla="*/ 1212669 w 3472060"/>
              <a:gd name="connsiteY16" fmla="*/ 577397 h 825932"/>
              <a:gd name="connsiteX17" fmla="*/ 1321506 w 3472060"/>
              <a:gd name="connsiteY17" fmla="*/ 556988 h 825932"/>
              <a:gd name="connsiteX18" fmla="*/ 1430709 w 3472060"/>
              <a:gd name="connsiteY18" fmla="*/ 536607 h 825932"/>
              <a:gd name="connsiteX19" fmla="*/ 1541050 w 3472060"/>
              <a:gd name="connsiteY19" fmla="*/ 514481 h 825932"/>
              <a:gd name="connsiteX20" fmla="*/ 1652805 w 3472060"/>
              <a:gd name="connsiteY20" fmla="*/ 492202 h 825932"/>
              <a:gd name="connsiteX21" fmla="*/ 1763708 w 3472060"/>
              <a:gd name="connsiteY21" fmla="*/ 469161 h 825932"/>
              <a:gd name="connsiteX22" fmla="*/ 1875795 w 3472060"/>
              <a:gd name="connsiteY22" fmla="*/ 444641 h 825932"/>
              <a:gd name="connsiteX23" fmla="*/ 1989128 w 3472060"/>
              <a:gd name="connsiteY23" fmla="*/ 418995 h 825932"/>
              <a:gd name="connsiteX24" fmla="*/ 2102476 w 3472060"/>
              <a:gd name="connsiteY24" fmla="*/ 393438 h 825932"/>
              <a:gd name="connsiteX25" fmla="*/ 2215549 w 3472060"/>
              <a:gd name="connsiteY25" fmla="*/ 366291 h 825932"/>
              <a:gd name="connsiteX26" fmla="*/ 2330490 w 3472060"/>
              <a:gd name="connsiteY26" fmla="*/ 337455 h 825932"/>
              <a:gd name="connsiteX27" fmla="*/ 2443333 w 3472060"/>
              <a:gd name="connsiteY27" fmla="*/ 308983 h 825932"/>
              <a:gd name="connsiteX28" fmla="*/ 2558014 w 3472060"/>
              <a:gd name="connsiteY28" fmla="*/ 278646 h 825932"/>
              <a:gd name="connsiteX29" fmla="*/ 2673621 w 3472060"/>
              <a:gd name="connsiteY29" fmla="*/ 247421 h 825932"/>
              <a:gd name="connsiteX30" fmla="*/ 2787008 w 3472060"/>
              <a:gd name="connsiteY30" fmla="*/ 215853 h 825932"/>
              <a:gd name="connsiteX31" fmla="*/ 2901442 w 3472060"/>
              <a:gd name="connsiteY31" fmla="*/ 182011 h 825932"/>
              <a:gd name="connsiteX32" fmla="*/ 3015722 w 3472060"/>
              <a:gd name="connsiteY32" fmla="*/ 147286 h 825932"/>
              <a:gd name="connsiteX33" fmla="*/ 3130018 w 3472060"/>
              <a:gd name="connsiteY33" fmla="*/ 112649 h 825932"/>
              <a:gd name="connsiteX34" fmla="*/ 3243551 w 3472060"/>
              <a:gd name="connsiteY34" fmla="*/ 75688 h 825932"/>
              <a:gd name="connsiteX35" fmla="*/ 3356992 w 3472060"/>
              <a:gd name="connsiteY35" fmla="*/ 38197 h 825932"/>
              <a:gd name="connsiteX36" fmla="*/ 3470310 w 3472060"/>
              <a:gd name="connsiteY36" fmla="*/ 0 h 825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472060" h="825932">
                <a:moveTo>
                  <a:pt x="3470310" y="0"/>
                </a:moveTo>
                <a:lnTo>
                  <a:pt x="3472060" y="12850"/>
                </a:lnTo>
                <a:lnTo>
                  <a:pt x="3472060" y="480529"/>
                </a:lnTo>
                <a:lnTo>
                  <a:pt x="3363699" y="498471"/>
                </a:lnTo>
                <a:cubicBezTo>
                  <a:pt x="2435623" y="645518"/>
                  <a:pt x="603076" y="844866"/>
                  <a:pt x="42060" y="824486"/>
                </a:cubicBezTo>
                <a:cubicBezTo>
                  <a:pt x="28151" y="802425"/>
                  <a:pt x="13909" y="780513"/>
                  <a:pt x="0" y="758452"/>
                </a:cubicBezTo>
                <a:lnTo>
                  <a:pt x="188014" y="735602"/>
                </a:lnTo>
                <a:lnTo>
                  <a:pt x="284087" y="722590"/>
                </a:lnTo>
                <a:lnTo>
                  <a:pt x="382288" y="709392"/>
                </a:lnTo>
                <a:lnTo>
                  <a:pt x="481858" y="695774"/>
                </a:lnTo>
                <a:lnTo>
                  <a:pt x="581897" y="680711"/>
                </a:lnTo>
                <a:lnTo>
                  <a:pt x="683670" y="665256"/>
                </a:lnTo>
                <a:lnTo>
                  <a:pt x="787206" y="649587"/>
                </a:lnTo>
                <a:lnTo>
                  <a:pt x="892019" y="632968"/>
                </a:lnTo>
                <a:lnTo>
                  <a:pt x="997620" y="614667"/>
                </a:lnTo>
                <a:lnTo>
                  <a:pt x="1104727" y="596741"/>
                </a:lnTo>
                <a:lnTo>
                  <a:pt x="1212669" y="577397"/>
                </a:lnTo>
                <a:lnTo>
                  <a:pt x="1321506" y="556988"/>
                </a:lnTo>
                <a:lnTo>
                  <a:pt x="1430709" y="536607"/>
                </a:lnTo>
                <a:lnTo>
                  <a:pt x="1541050" y="514481"/>
                </a:lnTo>
                <a:lnTo>
                  <a:pt x="1652805" y="492202"/>
                </a:lnTo>
                <a:lnTo>
                  <a:pt x="1763708" y="469161"/>
                </a:lnTo>
                <a:lnTo>
                  <a:pt x="1875795" y="444641"/>
                </a:lnTo>
                <a:lnTo>
                  <a:pt x="1989128" y="418995"/>
                </a:lnTo>
                <a:lnTo>
                  <a:pt x="2102476" y="393438"/>
                </a:lnTo>
                <a:lnTo>
                  <a:pt x="2215549" y="366291"/>
                </a:lnTo>
                <a:lnTo>
                  <a:pt x="2330490" y="337455"/>
                </a:lnTo>
                <a:lnTo>
                  <a:pt x="2443333" y="308983"/>
                </a:lnTo>
                <a:lnTo>
                  <a:pt x="2558014" y="278646"/>
                </a:lnTo>
                <a:lnTo>
                  <a:pt x="2673621" y="247421"/>
                </a:lnTo>
                <a:lnTo>
                  <a:pt x="2787008" y="215853"/>
                </a:lnTo>
                <a:lnTo>
                  <a:pt x="2901442" y="182011"/>
                </a:lnTo>
                <a:lnTo>
                  <a:pt x="3015722" y="147286"/>
                </a:lnTo>
                <a:lnTo>
                  <a:pt x="3130018" y="112649"/>
                </a:lnTo>
                <a:lnTo>
                  <a:pt x="3243551" y="75688"/>
                </a:lnTo>
                <a:lnTo>
                  <a:pt x="3356992" y="38197"/>
                </a:lnTo>
                <a:lnTo>
                  <a:pt x="347031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 useBgFill="1">
        <p:nvSpPr>
          <p:cNvPr id="9" name="Freeform: Shape 13">
            <a:extLst>
              <a:ext uri="{FF2B5EF4-FFF2-40B4-BE49-F238E27FC236}">
                <a16:creationId xmlns:a16="http://schemas.microsoft.com/office/drawing/2014/main" id="{6A681326-1C9D-44A3-A627-3871BDAE41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1" y="1762067"/>
            <a:ext cx="12192417" cy="5095933"/>
          </a:xfrm>
          <a:custGeom>
            <a:avLst/>
            <a:gdLst>
              <a:gd name="connsiteX0" fmla="*/ 0 w 12192417"/>
              <a:gd name="connsiteY0" fmla="*/ 0 h 5095933"/>
              <a:gd name="connsiteX1" fmla="*/ 71931 w 12192417"/>
              <a:gd name="connsiteY1" fmla="*/ 12261 h 5095933"/>
              <a:gd name="connsiteX2" fmla="*/ 282848 w 12192417"/>
              <a:gd name="connsiteY2" fmla="*/ 48343 h 5095933"/>
              <a:gd name="connsiteX3" fmla="*/ 436463 w 12192417"/>
              <a:gd name="connsiteY3" fmla="*/ 73565 h 5095933"/>
              <a:gd name="connsiteX4" fmla="*/ 619338 w 12192417"/>
              <a:gd name="connsiteY4" fmla="*/ 100188 h 5095933"/>
              <a:gd name="connsiteX5" fmla="*/ 836350 w 12192417"/>
              <a:gd name="connsiteY5" fmla="*/ 132066 h 5095933"/>
              <a:gd name="connsiteX6" fmla="*/ 1076527 w 12192417"/>
              <a:gd name="connsiteY6" fmla="*/ 165696 h 5095933"/>
              <a:gd name="connsiteX7" fmla="*/ 1347183 w 12192417"/>
              <a:gd name="connsiteY7" fmla="*/ 201077 h 5095933"/>
              <a:gd name="connsiteX8" fmla="*/ 1642222 w 12192417"/>
              <a:gd name="connsiteY8" fmla="*/ 238560 h 5095933"/>
              <a:gd name="connsiteX9" fmla="*/ 1962863 w 12192417"/>
              <a:gd name="connsiteY9" fmla="*/ 276043 h 5095933"/>
              <a:gd name="connsiteX10" fmla="*/ 2304231 w 12192417"/>
              <a:gd name="connsiteY10" fmla="*/ 314227 h 5095933"/>
              <a:gd name="connsiteX11" fmla="*/ 2672420 w 12192417"/>
              <a:gd name="connsiteY11" fmla="*/ 349608 h 5095933"/>
              <a:gd name="connsiteX12" fmla="*/ 3057677 w 12192417"/>
              <a:gd name="connsiteY12" fmla="*/ 383588 h 5095933"/>
              <a:gd name="connsiteX13" fmla="*/ 3464880 w 12192417"/>
              <a:gd name="connsiteY13" fmla="*/ 414415 h 5095933"/>
              <a:gd name="connsiteX14" fmla="*/ 3889151 w 12192417"/>
              <a:gd name="connsiteY14" fmla="*/ 443841 h 5095933"/>
              <a:gd name="connsiteX15" fmla="*/ 4331709 w 12192417"/>
              <a:gd name="connsiteY15" fmla="*/ 471515 h 5095933"/>
              <a:gd name="connsiteX16" fmla="*/ 4558475 w 12192417"/>
              <a:gd name="connsiteY16" fmla="*/ 481324 h 5095933"/>
              <a:gd name="connsiteX17" fmla="*/ 4790117 w 12192417"/>
              <a:gd name="connsiteY17" fmla="*/ 492183 h 5095933"/>
              <a:gd name="connsiteX18" fmla="*/ 5025417 w 12192417"/>
              <a:gd name="connsiteY18" fmla="*/ 502342 h 5095933"/>
              <a:gd name="connsiteX19" fmla="*/ 5261936 w 12192417"/>
              <a:gd name="connsiteY19" fmla="*/ 508998 h 5095933"/>
              <a:gd name="connsiteX20" fmla="*/ 5503331 w 12192417"/>
              <a:gd name="connsiteY20" fmla="*/ 514953 h 5095933"/>
              <a:gd name="connsiteX21" fmla="*/ 5747166 w 12192417"/>
              <a:gd name="connsiteY21" fmla="*/ 521259 h 5095933"/>
              <a:gd name="connsiteX22" fmla="*/ 5995876 w 12192417"/>
              <a:gd name="connsiteY22" fmla="*/ 525463 h 5095933"/>
              <a:gd name="connsiteX23" fmla="*/ 6247025 w 12192417"/>
              <a:gd name="connsiteY23" fmla="*/ 525463 h 5095933"/>
              <a:gd name="connsiteX24" fmla="*/ 6500612 w 12192417"/>
              <a:gd name="connsiteY24" fmla="*/ 527565 h 5095933"/>
              <a:gd name="connsiteX25" fmla="*/ 6756638 w 12192417"/>
              <a:gd name="connsiteY25" fmla="*/ 525463 h 5095933"/>
              <a:gd name="connsiteX26" fmla="*/ 7016321 w 12192417"/>
              <a:gd name="connsiteY26" fmla="*/ 521259 h 5095933"/>
              <a:gd name="connsiteX27" fmla="*/ 7276004 w 12192417"/>
              <a:gd name="connsiteY27" fmla="*/ 517406 h 5095933"/>
              <a:gd name="connsiteX28" fmla="*/ 7539344 w 12192417"/>
              <a:gd name="connsiteY28" fmla="*/ 508998 h 5095933"/>
              <a:gd name="connsiteX29" fmla="*/ 7805123 w 12192417"/>
              <a:gd name="connsiteY29" fmla="*/ 500241 h 5095933"/>
              <a:gd name="connsiteX30" fmla="*/ 8070902 w 12192417"/>
              <a:gd name="connsiteY30" fmla="*/ 490082 h 5095933"/>
              <a:gd name="connsiteX31" fmla="*/ 8339120 w 12192417"/>
              <a:gd name="connsiteY31" fmla="*/ 475719 h 5095933"/>
              <a:gd name="connsiteX32" fmla="*/ 8609775 w 12192417"/>
              <a:gd name="connsiteY32" fmla="*/ 458554 h 5095933"/>
              <a:gd name="connsiteX33" fmla="*/ 8881650 w 12192417"/>
              <a:gd name="connsiteY33" fmla="*/ 442089 h 5095933"/>
              <a:gd name="connsiteX34" fmla="*/ 9153525 w 12192417"/>
              <a:gd name="connsiteY34" fmla="*/ 421071 h 5095933"/>
              <a:gd name="connsiteX35" fmla="*/ 9429057 w 12192417"/>
              <a:gd name="connsiteY35" fmla="*/ 395849 h 5095933"/>
              <a:gd name="connsiteX36" fmla="*/ 9700932 w 12192417"/>
              <a:gd name="connsiteY36" fmla="*/ 370626 h 5095933"/>
              <a:gd name="connsiteX37" fmla="*/ 9977683 w 12192417"/>
              <a:gd name="connsiteY37" fmla="*/ 341551 h 5095933"/>
              <a:gd name="connsiteX38" fmla="*/ 10255654 w 12192417"/>
              <a:gd name="connsiteY38" fmla="*/ 309673 h 5095933"/>
              <a:gd name="connsiteX39" fmla="*/ 10529967 w 12192417"/>
              <a:gd name="connsiteY39" fmla="*/ 276043 h 5095933"/>
              <a:gd name="connsiteX40" fmla="*/ 10807938 w 12192417"/>
              <a:gd name="connsiteY40" fmla="*/ 236809 h 5095933"/>
              <a:gd name="connsiteX41" fmla="*/ 11084689 w 12192417"/>
              <a:gd name="connsiteY41" fmla="*/ 194772 h 5095933"/>
              <a:gd name="connsiteX42" fmla="*/ 11362660 w 12192417"/>
              <a:gd name="connsiteY42" fmla="*/ 153085 h 5095933"/>
              <a:gd name="connsiteX43" fmla="*/ 11639411 w 12192417"/>
              <a:gd name="connsiteY43" fmla="*/ 104392 h 5095933"/>
              <a:gd name="connsiteX44" fmla="*/ 11914944 w 12192417"/>
              <a:gd name="connsiteY44" fmla="*/ 54648 h 5095933"/>
              <a:gd name="connsiteX45" fmla="*/ 12191695 w 12192417"/>
              <a:gd name="connsiteY45" fmla="*/ 2452 h 5095933"/>
              <a:gd name="connsiteX46" fmla="*/ 12191695 w 12192417"/>
              <a:gd name="connsiteY46" fmla="*/ 2162231 h 5095933"/>
              <a:gd name="connsiteX47" fmla="*/ 12192417 w 12192417"/>
              <a:gd name="connsiteY47" fmla="*/ 2162231 h 5095933"/>
              <a:gd name="connsiteX48" fmla="*/ 12192417 w 12192417"/>
              <a:gd name="connsiteY48" fmla="*/ 5095933 h 5095933"/>
              <a:gd name="connsiteX49" fmla="*/ 0 w 12192417"/>
              <a:gd name="connsiteY49" fmla="*/ 5095933 h 5095933"/>
              <a:gd name="connsiteX50" fmla="*/ 0 w 12192417"/>
              <a:gd name="connsiteY50" fmla="*/ 2791958 h 5095933"/>
              <a:gd name="connsiteX51" fmla="*/ 0 w 12192417"/>
              <a:gd name="connsiteY51" fmla="*/ 2162231 h 509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2192417" h="5095933">
                <a:moveTo>
                  <a:pt x="0" y="0"/>
                </a:moveTo>
                <a:lnTo>
                  <a:pt x="71931" y="12261"/>
                </a:lnTo>
                <a:lnTo>
                  <a:pt x="282848" y="48343"/>
                </a:lnTo>
                <a:lnTo>
                  <a:pt x="436463" y="73565"/>
                </a:lnTo>
                <a:lnTo>
                  <a:pt x="619338" y="100188"/>
                </a:lnTo>
                <a:lnTo>
                  <a:pt x="836350" y="132066"/>
                </a:lnTo>
                <a:lnTo>
                  <a:pt x="1076527" y="165696"/>
                </a:lnTo>
                <a:lnTo>
                  <a:pt x="1347183" y="201077"/>
                </a:lnTo>
                <a:lnTo>
                  <a:pt x="1642222" y="238560"/>
                </a:lnTo>
                <a:lnTo>
                  <a:pt x="1962863" y="276043"/>
                </a:lnTo>
                <a:lnTo>
                  <a:pt x="2304231" y="314227"/>
                </a:lnTo>
                <a:lnTo>
                  <a:pt x="2672420" y="349608"/>
                </a:lnTo>
                <a:lnTo>
                  <a:pt x="3057677" y="383588"/>
                </a:lnTo>
                <a:lnTo>
                  <a:pt x="3464880" y="414415"/>
                </a:lnTo>
                <a:lnTo>
                  <a:pt x="3889151" y="443841"/>
                </a:lnTo>
                <a:lnTo>
                  <a:pt x="4331709" y="471515"/>
                </a:lnTo>
                <a:lnTo>
                  <a:pt x="4558475" y="481324"/>
                </a:lnTo>
                <a:lnTo>
                  <a:pt x="4790117" y="492183"/>
                </a:lnTo>
                <a:lnTo>
                  <a:pt x="5025417" y="502342"/>
                </a:lnTo>
                <a:lnTo>
                  <a:pt x="5261936" y="508998"/>
                </a:lnTo>
                <a:lnTo>
                  <a:pt x="5503331" y="514953"/>
                </a:lnTo>
                <a:lnTo>
                  <a:pt x="5747166" y="521259"/>
                </a:lnTo>
                <a:lnTo>
                  <a:pt x="5995876" y="525463"/>
                </a:lnTo>
                <a:lnTo>
                  <a:pt x="6247025" y="525463"/>
                </a:lnTo>
                <a:lnTo>
                  <a:pt x="6500612" y="527565"/>
                </a:lnTo>
                <a:lnTo>
                  <a:pt x="6756638" y="525463"/>
                </a:lnTo>
                <a:lnTo>
                  <a:pt x="7016321" y="521259"/>
                </a:lnTo>
                <a:lnTo>
                  <a:pt x="7276004" y="517406"/>
                </a:lnTo>
                <a:lnTo>
                  <a:pt x="7539344" y="508998"/>
                </a:lnTo>
                <a:lnTo>
                  <a:pt x="7805123" y="500241"/>
                </a:lnTo>
                <a:lnTo>
                  <a:pt x="8070902" y="490082"/>
                </a:lnTo>
                <a:lnTo>
                  <a:pt x="8339120" y="475719"/>
                </a:lnTo>
                <a:lnTo>
                  <a:pt x="8609775" y="458554"/>
                </a:lnTo>
                <a:lnTo>
                  <a:pt x="8881650" y="442089"/>
                </a:lnTo>
                <a:lnTo>
                  <a:pt x="9153525" y="421071"/>
                </a:lnTo>
                <a:lnTo>
                  <a:pt x="9429057" y="395849"/>
                </a:lnTo>
                <a:lnTo>
                  <a:pt x="9700932" y="370626"/>
                </a:lnTo>
                <a:lnTo>
                  <a:pt x="9977683" y="341551"/>
                </a:lnTo>
                <a:lnTo>
                  <a:pt x="10255654" y="309673"/>
                </a:lnTo>
                <a:lnTo>
                  <a:pt x="10529967" y="276043"/>
                </a:lnTo>
                <a:lnTo>
                  <a:pt x="10807938" y="236809"/>
                </a:lnTo>
                <a:lnTo>
                  <a:pt x="11084689" y="194772"/>
                </a:lnTo>
                <a:lnTo>
                  <a:pt x="11362660" y="153085"/>
                </a:lnTo>
                <a:lnTo>
                  <a:pt x="11639411" y="104392"/>
                </a:lnTo>
                <a:lnTo>
                  <a:pt x="11914944" y="54648"/>
                </a:lnTo>
                <a:lnTo>
                  <a:pt x="12191695" y="2452"/>
                </a:lnTo>
                <a:lnTo>
                  <a:pt x="12191695" y="2162231"/>
                </a:lnTo>
                <a:lnTo>
                  <a:pt x="12192417" y="2162231"/>
                </a:lnTo>
                <a:lnTo>
                  <a:pt x="12192417" y="5095933"/>
                </a:lnTo>
                <a:lnTo>
                  <a:pt x="0" y="5095933"/>
                </a:lnTo>
                <a:lnTo>
                  <a:pt x="0" y="2791958"/>
                </a:lnTo>
                <a:lnTo>
                  <a:pt x="0" y="2162231"/>
                </a:lnTo>
                <a:close/>
              </a:path>
            </a:pathLst>
          </a:custGeom>
          <a:ln>
            <a:noFill/>
          </a:ln>
        </p:spPr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52DEB6-587F-4410-838F-3EA0BE6739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3312" y="452718"/>
            <a:ext cx="8947522" cy="1400530"/>
          </a:xfrm>
        </p:spPr>
        <p:txBody>
          <a:bodyPr anchor="ctr">
            <a:normAutofit/>
          </a:bodyPr>
          <a:lstStyle/>
          <a:p>
            <a:r>
              <a:rPr lang="en-US">
                <a:solidFill>
                  <a:srgbClr val="FFFFFF"/>
                </a:solidFill>
              </a:rPr>
              <a:t>Architecture</a:t>
            </a:r>
          </a:p>
        </p:txBody>
      </p:sp>
      <p:pic>
        <p:nvPicPr>
          <p:cNvPr id="93" name="Picture 92">
            <a:extLst>
              <a:ext uri="{FF2B5EF4-FFF2-40B4-BE49-F238E27FC236}">
                <a16:creationId xmlns:a16="http://schemas.microsoft.com/office/drawing/2014/main" id="{F9AF98AB-9B64-4F32-B23D-4CB6884034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3163" y="2305966"/>
            <a:ext cx="8848725" cy="429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7340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16557C-3256-1828-A628-AE4E6B4904C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>
                <a:ea typeface="+mj-lt"/>
                <a:cs typeface="+mj-lt"/>
              </a:rPr>
              <a:t>ITaaS Data Center Network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62C14DF-D4EA-1F4F-F3C3-853F62F53FF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ea typeface="+mn-lt"/>
                <a:cs typeface="+mn-lt"/>
              </a:rPr>
              <a:t>Jason Nero (UWSA)</a:t>
            </a:r>
            <a:endParaRPr lang="en-US"/>
          </a:p>
          <a:p>
            <a:r>
              <a:rPr lang="en-US">
                <a:ea typeface="+mn-lt"/>
                <a:cs typeface="+mn-lt"/>
              </a:rPr>
              <a:t>Cassidy Miles (UW-La Crosse)</a:t>
            </a:r>
            <a:endParaRPr lang="en-US"/>
          </a:p>
          <a:p>
            <a:endParaRPr lang="en-US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11762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3B1B7A-6FB8-8349-B7E7-A9982F9B38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T as a Service - Vis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9E0F06-40B8-B146-BDB4-DFE99BCC8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B2801F-AB2E-47A4-A198-B654C0E81C2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BE2FC30-F6E0-6940-82F7-DD3B937AE679}"/>
              </a:ext>
            </a:extLst>
          </p:cNvPr>
          <p:cNvCxnSpPr>
            <a:cxnSpLocks/>
          </p:cNvCxnSpPr>
          <p:nvPr/>
        </p:nvCxnSpPr>
        <p:spPr>
          <a:xfrm>
            <a:off x="6105994" y="2254409"/>
            <a:ext cx="0" cy="3081524"/>
          </a:xfrm>
          <a:prstGeom prst="line">
            <a:avLst/>
          </a:prstGeom>
          <a:ln w="12700" cmpd="sng"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8F23DEF2-AD9D-5D4B-A98A-AB1434661475}"/>
              </a:ext>
            </a:extLst>
          </p:cNvPr>
          <p:cNvSpPr txBox="1"/>
          <p:nvPr/>
        </p:nvSpPr>
        <p:spPr>
          <a:xfrm>
            <a:off x="3503638" y="3517527"/>
            <a:ext cx="54616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…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306D8AA-4560-6D4D-9E88-8846D887640E}"/>
              </a:ext>
            </a:extLst>
          </p:cNvPr>
          <p:cNvSpPr txBox="1"/>
          <p:nvPr/>
        </p:nvSpPr>
        <p:spPr>
          <a:xfrm>
            <a:off x="8247394" y="3253980"/>
            <a:ext cx="523460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…</a:t>
            </a:r>
          </a:p>
        </p:txBody>
      </p:sp>
      <p:sp>
        <p:nvSpPr>
          <p:cNvPr id="49" name="Right Brace 48">
            <a:extLst>
              <a:ext uri="{FF2B5EF4-FFF2-40B4-BE49-F238E27FC236}">
                <a16:creationId xmlns:a16="http://schemas.microsoft.com/office/drawing/2014/main" id="{2797AC7A-E698-584A-AA28-6ADABDB4C761}"/>
              </a:ext>
            </a:extLst>
          </p:cNvPr>
          <p:cNvSpPr/>
          <p:nvPr/>
        </p:nvSpPr>
        <p:spPr>
          <a:xfrm rot="10800000">
            <a:off x="1519111" y="3921769"/>
            <a:ext cx="304175" cy="1019870"/>
          </a:xfrm>
          <a:prstGeom prst="rightBrace">
            <a:avLst>
              <a:gd name="adj1" fmla="val 349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0A782C44-43D2-1A4B-B238-4878AD2B62AB}"/>
              </a:ext>
            </a:extLst>
          </p:cNvPr>
          <p:cNvSpPr txBox="1"/>
          <p:nvPr/>
        </p:nvSpPr>
        <p:spPr>
          <a:xfrm>
            <a:off x="232273" y="3737749"/>
            <a:ext cx="118414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uplicated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ardware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censing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nagement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abor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verhead</a:t>
            </a:r>
          </a:p>
        </p:txBody>
      </p:sp>
      <p:sp>
        <p:nvSpPr>
          <p:cNvPr id="53" name="Right Brace 52">
            <a:extLst>
              <a:ext uri="{FF2B5EF4-FFF2-40B4-BE49-F238E27FC236}">
                <a16:creationId xmlns:a16="http://schemas.microsoft.com/office/drawing/2014/main" id="{CCD01482-D947-E34E-BBF9-D9F6CFDF55F2}"/>
              </a:ext>
            </a:extLst>
          </p:cNvPr>
          <p:cNvSpPr/>
          <p:nvPr/>
        </p:nvSpPr>
        <p:spPr>
          <a:xfrm>
            <a:off x="10484396" y="3920588"/>
            <a:ext cx="241405" cy="1019869"/>
          </a:xfrm>
          <a:prstGeom prst="rightBrace">
            <a:avLst>
              <a:gd name="adj1" fmla="val 349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121D80E-E3FF-B241-B547-F5BA8333C970}"/>
              </a:ext>
            </a:extLst>
          </p:cNvPr>
          <p:cNvSpPr txBox="1"/>
          <p:nvPr/>
        </p:nvSpPr>
        <p:spPr>
          <a:xfrm>
            <a:off x="10775583" y="3755109"/>
            <a:ext cx="118414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timiz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ardwa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cens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>
                <a:solidFill>
                  <a:prstClr val="black"/>
                </a:solidFill>
                <a:latin typeface="Calibri"/>
              </a:rPr>
              <a:t>Management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ab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verhead</a:t>
            </a:r>
          </a:p>
        </p:txBody>
      </p:sp>
      <p:sp>
        <p:nvSpPr>
          <p:cNvPr id="55" name="Right Brace 54">
            <a:extLst>
              <a:ext uri="{FF2B5EF4-FFF2-40B4-BE49-F238E27FC236}">
                <a16:creationId xmlns:a16="http://schemas.microsoft.com/office/drawing/2014/main" id="{D58C1DAD-0365-914D-9697-5BADF89D6523}"/>
              </a:ext>
            </a:extLst>
          </p:cNvPr>
          <p:cNvSpPr/>
          <p:nvPr/>
        </p:nvSpPr>
        <p:spPr>
          <a:xfrm>
            <a:off x="10497075" y="3253979"/>
            <a:ext cx="228726" cy="475171"/>
          </a:xfrm>
          <a:prstGeom prst="rightBrace">
            <a:avLst>
              <a:gd name="adj1" fmla="val 3491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754F1F6-043B-A948-B1CF-AEF4170EAEA6}"/>
              </a:ext>
            </a:extLst>
          </p:cNvPr>
          <p:cNvSpPr txBox="1"/>
          <p:nvPr/>
        </p:nvSpPr>
        <p:spPr>
          <a:xfrm>
            <a:off x="10795572" y="3140907"/>
            <a:ext cx="11841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tai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ull control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06E0FFF-1F72-C046-BCC9-3837C3DB8EC4}"/>
              </a:ext>
            </a:extLst>
          </p:cNvPr>
          <p:cNvSpPr txBox="1"/>
          <p:nvPr/>
        </p:nvSpPr>
        <p:spPr>
          <a:xfrm>
            <a:off x="1853040" y="1756706"/>
            <a:ext cx="38323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solated Model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AACAF21D-DD96-A049-983C-0D81E7CC1CF0}"/>
              </a:ext>
            </a:extLst>
          </p:cNvPr>
          <p:cNvSpPr txBox="1"/>
          <p:nvPr/>
        </p:nvSpPr>
        <p:spPr>
          <a:xfrm>
            <a:off x="6543838" y="1756706"/>
            <a:ext cx="383916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ified Model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00B1BDB-2F73-6047-B723-9171C8730DB1}"/>
              </a:ext>
            </a:extLst>
          </p:cNvPr>
          <p:cNvGrpSpPr/>
          <p:nvPr/>
        </p:nvGrpSpPr>
        <p:grpSpPr>
          <a:xfrm>
            <a:off x="1836924" y="2681664"/>
            <a:ext cx="1635611" cy="2259975"/>
            <a:chOff x="1836924" y="3017325"/>
            <a:chExt cx="1635611" cy="225997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B25420B-ED2F-E244-9076-57CEA9C35819}"/>
                </a:ext>
              </a:extLst>
            </p:cNvPr>
            <p:cNvSpPr/>
            <p:nvPr/>
          </p:nvSpPr>
          <p:spPr>
            <a:xfrm>
              <a:off x="1966662" y="4813369"/>
              <a:ext cx="1376136" cy="46393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oundational IT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0136FB7-FF60-FA42-A031-0CAA60DD7BF0}"/>
                </a:ext>
              </a:extLst>
            </p:cNvPr>
            <p:cNvSpPr/>
            <p:nvPr/>
          </p:nvSpPr>
          <p:spPr>
            <a:xfrm>
              <a:off x="1966662" y="4257431"/>
              <a:ext cx="1376136" cy="46393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re IT Operations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466B05C5-B26C-5549-A8FA-0C117DE2245A}"/>
                </a:ext>
              </a:extLst>
            </p:cNvPr>
            <p:cNvSpPr txBox="1"/>
            <p:nvPr/>
          </p:nvSpPr>
          <p:spPr>
            <a:xfrm>
              <a:off x="1836924" y="3017325"/>
              <a:ext cx="16356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stitution 1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987F63FA-8292-F84B-BE67-C2380C759EC9}"/>
                </a:ext>
              </a:extLst>
            </p:cNvPr>
            <p:cNvSpPr/>
            <p:nvPr/>
          </p:nvSpPr>
          <p:spPr>
            <a:xfrm>
              <a:off x="1966662" y="3619286"/>
              <a:ext cx="1376136" cy="463931"/>
            </a:xfrm>
            <a:prstGeom prst="rect">
              <a:avLst/>
            </a:prstGeom>
            <a:solidFill>
              <a:srgbClr val="67829F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ission-Focused IT</a:t>
              </a: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80665878-F316-8546-B465-70839DD97142}"/>
              </a:ext>
            </a:extLst>
          </p:cNvPr>
          <p:cNvGrpSpPr/>
          <p:nvPr/>
        </p:nvGrpSpPr>
        <p:grpSpPr>
          <a:xfrm>
            <a:off x="3978324" y="2681664"/>
            <a:ext cx="1635611" cy="2259975"/>
            <a:chOff x="1836924" y="3017325"/>
            <a:chExt cx="1635611" cy="2259975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FA401C92-7A05-0847-9C6C-9325488F0C3F}"/>
                </a:ext>
              </a:extLst>
            </p:cNvPr>
            <p:cNvSpPr/>
            <p:nvPr/>
          </p:nvSpPr>
          <p:spPr>
            <a:xfrm>
              <a:off x="1966662" y="4813369"/>
              <a:ext cx="1376136" cy="46393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oundational IT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E4AB0C8F-01D0-9343-B73D-18AA1182D9CB}"/>
                </a:ext>
              </a:extLst>
            </p:cNvPr>
            <p:cNvSpPr/>
            <p:nvPr/>
          </p:nvSpPr>
          <p:spPr>
            <a:xfrm>
              <a:off x="1966662" y="4257431"/>
              <a:ext cx="1376136" cy="46393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re IT Operations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6A4F4377-3127-CD4C-9739-F955A7A2309C}"/>
                </a:ext>
              </a:extLst>
            </p:cNvPr>
            <p:cNvSpPr txBox="1"/>
            <p:nvPr/>
          </p:nvSpPr>
          <p:spPr>
            <a:xfrm>
              <a:off x="1836924" y="3017325"/>
              <a:ext cx="16356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stitution N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85D92224-D09A-5F49-9FC3-F724FEF71639}"/>
                </a:ext>
              </a:extLst>
            </p:cNvPr>
            <p:cNvSpPr/>
            <p:nvPr/>
          </p:nvSpPr>
          <p:spPr>
            <a:xfrm>
              <a:off x="1966662" y="3619286"/>
              <a:ext cx="1376136" cy="463931"/>
            </a:xfrm>
            <a:prstGeom prst="rect">
              <a:avLst/>
            </a:prstGeom>
            <a:solidFill>
              <a:srgbClr val="67829F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ission-Focused IT</a:t>
              </a:r>
            </a:p>
          </p:txBody>
        </p:sp>
      </p:grpSp>
      <p:sp>
        <p:nvSpPr>
          <p:cNvPr id="67" name="Rectangle 66">
            <a:extLst>
              <a:ext uri="{FF2B5EF4-FFF2-40B4-BE49-F238E27FC236}">
                <a16:creationId xmlns:a16="http://schemas.microsoft.com/office/drawing/2014/main" id="{73416026-4E99-4F41-84D3-6CAE8F1E97C4}"/>
              </a:ext>
            </a:extLst>
          </p:cNvPr>
          <p:cNvSpPr/>
          <p:nvPr/>
        </p:nvSpPr>
        <p:spPr>
          <a:xfrm>
            <a:off x="6775408" y="4476526"/>
            <a:ext cx="3449923" cy="463931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undational IT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1E685AAC-B171-2546-B022-4642F04A2883}"/>
              </a:ext>
            </a:extLst>
          </p:cNvPr>
          <p:cNvSpPr/>
          <p:nvPr/>
        </p:nvSpPr>
        <p:spPr>
          <a:xfrm>
            <a:off x="6775408" y="3920588"/>
            <a:ext cx="3449923" cy="463931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re IT Operations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CB01508-42B2-4247-934A-224949CF1B6F}"/>
              </a:ext>
            </a:extLst>
          </p:cNvPr>
          <p:cNvSpPr/>
          <p:nvPr/>
        </p:nvSpPr>
        <p:spPr>
          <a:xfrm>
            <a:off x="6775409" y="3283625"/>
            <a:ext cx="1376136" cy="463931"/>
          </a:xfrm>
          <a:prstGeom prst="rect">
            <a:avLst/>
          </a:prstGeom>
          <a:solidFill>
            <a:srgbClr val="67829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ission-Focused I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6DAE12B9-AD2C-C241-804D-44C438709AC7}"/>
              </a:ext>
            </a:extLst>
          </p:cNvPr>
          <p:cNvSpPr/>
          <p:nvPr/>
        </p:nvSpPr>
        <p:spPr>
          <a:xfrm>
            <a:off x="8863414" y="3278632"/>
            <a:ext cx="1376136" cy="463931"/>
          </a:xfrm>
          <a:prstGeom prst="rect">
            <a:avLst/>
          </a:prstGeom>
          <a:solidFill>
            <a:srgbClr val="67829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ission-Focused IT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845E40EE-E42F-1B41-913C-6037C0A41AFF}"/>
              </a:ext>
            </a:extLst>
          </p:cNvPr>
          <p:cNvSpPr txBox="1"/>
          <p:nvPr/>
        </p:nvSpPr>
        <p:spPr>
          <a:xfrm>
            <a:off x="6560045" y="2681664"/>
            <a:ext cx="16356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stitution 1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FF77023F-EF78-D24A-9BF6-89EA617BD020}"/>
              </a:ext>
            </a:extLst>
          </p:cNvPr>
          <p:cNvSpPr txBox="1"/>
          <p:nvPr/>
        </p:nvSpPr>
        <p:spPr>
          <a:xfrm>
            <a:off x="8680256" y="2681664"/>
            <a:ext cx="16356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stitution 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43B91A0-0575-CA40-84EC-A26B5C6872E6}"/>
              </a:ext>
            </a:extLst>
          </p:cNvPr>
          <p:cNvSpPr txBox="1"/>
          <p:nvPr/>
        </p:nvSpPr>
        <p:spPr>
          <a:xfrm>
            <a:off x="3138299" y="981814"/>
            <a:ext cx="59154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/>
              <a:t>Commoditize and Optimize the Common Core</a:t>
            </a:r>
          </a:p>
        </p:txBody>
      </p:sp>
    </p:spTree>
    <p:extLst>
      <p:ext uri="{BB962C8B-B14F-4D97-AF65-F5344CB8AC3E}">
        <p14:creationId xmlns:p14="http://schemas.microsoft.com/office/powerpoint/2010/main" val="2423826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E476A0-6314-DB05-C0E7-012DF54E2A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>
                <a:ea typeface="+mj-lt"/>
                <a:cs typeface="+mj-lt"/>
              </a:rPr>
              <a:t>ITaaS</a:t>
            </a:r>
            <a:r>
              <a:rPr lang="en-US">
                <a:ea typeface="+mj-lt"/>
                <a:cs typeface="+mj-lt"/>
              </a:rPr>
              <a:t> Data Center and Delivery Network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C6499E7-00DB-CF80-F5B2-ED3B8533BDED}"/>
              </a:ext>
            </a:extLst>
          </p:cNvPr>
          <p:cNvSpPr txBox="1"/>
          <p:nvPr/>
        </p:nvSpPr>
        <p:spPr>
          <a:xfrm>
            <a:off x="165316" y="1056468"/>
            <a:ext cx="11938860" cy="429091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spcAft>
                <a:spcPts val="1200"/>
              </a:spcAft>
              <a:buFont typeface="Arial"/>
              <a:buChar char="•"/>
            </a:pPr>
            <a:r>
              <a:rPr lang="en-US" sz="2400">
                <a:ea typeface="+mn-lt"/>
                <a:cs typeface="+mn-lt"/>
              </a:rPr>
              <a:t>Need for an end-to-end network that could deliver ITaaS offerings </a:t>
            </a:r>
          </a:p>
          <a:p>
            <a:pPr marL="285750" indent="-285750">
              <a:spcAft>
                <a:spcPts val="1200"/>
              </a:spcAft>
              <a:buFont typeface="Arial"/>
              <a:buChar char="•"/>
            </a:pPr>
            <a:r>
              <a:rPr lang="en-US" sz="2400">
                <a:ea typeface="+mn-lt"/>
                <a:cs typeface="+mn-lt"/>
              </a:rPr>
              <a:t>Collaborative effort to make this project happen</a:t>
            </a:r>
          </a:p>
          <a:p>
            <a:pPr marL="742950" lvl="1" indent="-285750">
              <a:lnSpc>
                <a:spcPct val="90000"/>
              </a:lnSpc>
              <a:spcBef>
                <a:spcPts val="500"/>
              </a:spcBef>
              <a:buFont typeface="Wingdings,Sans-Serif"/>
              <a:buChar char="§"/>
            </a:pPr>
            <a:r>
              <a:rPr lang="en-US" sz="2400">
                <a:ea typeface="+mn-lt"/>
                <a:cs typeface="+mn-lt"/>
              </a:rPr>
              <a:t>UW System Administration</a:t>
            </a:r>
          </a:p>
          <a:p>
            <a:pPr marL="742950" lvl="1" indent="-285750">
              <a:lnSpc>
                <a:spcPct val="90000"/>
              </a:lnSpc>
              <a:spcBef>
                <a:spcPts val="500"/>
              </a:spcBef>
              <a:buFont typeface="Wingdings,Sans-Serif"/>
              <a:buChar char="§"/>
            </a:pPr>
            <a:r>
              <a:rPr lang="en-US" sz="2400">
                <a:ea typeface="+mn-lt"/>
                <a:cs typeface="+mn-lt"/>
              </a:rPr>
              <a:t>UW-Madison</a:t>
            </a:r>
          </a:p>
          <a:p>
            <a:pPr marL="742950" lvl="1" indent="-285750">
              <a:lnSpc>
                <a:spcPct val="90000"/>
              </a:lnSpc>
              <a:spcBef>
                <a:spcPts val="500"/>
              </a:spcBef>
              <a:buFont typeface="Wingdings,Sans-Serif"/>
              <a:buChar char="§"/>
            </a:pPr>
            <a:r>
              <a:rPr lang="en-US" sz="2400">
                <a:ea typeface="+mn-lt"/>
                <a:cs typeface="+mn-lt"/>
              </a:rPr>
              <a:t>UW-La Crosse</a:t>
            </a:r>
          </a:p>
          <a:p>
            <a:pPr marL="742950" lvl="1" indent="-285750">
              <a:lnSpc>
                <a:spcPct val="90000"/>
              </a:lnSpc>
              <a:spcBef>
                <a:spcPts val="500"/>
              </a:spcBef>
              <a:buFont typeface="Wingdings,Sans-Serif"/>
              <a:buChar char="§"/>
            </a:pPr>
            <a:r>
              <a:rPr lang="en-US" sz="2400">
                <a:ea typeface="+mn-lt"/>
                <a:cs typeface="+mn-lt"/>
              </a:rPr>
              <a:t>SysNet</a:t>
            </a:r>
          </a:p>
          <a:p>
            <a:pPr marL="742950" lvl="1" indent="-285750">
              <a:lnSpc>
                <a:spcPct val="90000"/>
              </a:lnSpc>
              <a:spcBef>
                <a:spcPts val="500"/>
              </a:spcBef>
              <a:buFont typeface="Wingdings,Sans-Serif"/>
              <a:buChar char="§"/>
            </a:pPr>
            <a:r>
              <a:rPr lang="en-US" sz="2400">
                <a:ea typeface="+mn-lt"/>
                <a:cs typeface="+mn-lt"/>
              </a:rPr>
              <a:t>Others</a:t>
            </a:r>
          </a:p>
          <a:p>
            <a:pPr marL="285750" indent="-285750">
              <a:spcAft>
                <a:spcPts val="1200"/>
              </a:spcAft>
              <a:buFont typeface="Wingdings,Sans-Serif"/>
              <a:buChar char="§"/>
            </a:pPr>
            <a:endParaRPr lang="en-US" sz="2400">
              <a:ea typeface="+mn-lt"/>
              <a:cs typeface="+mn-lt"/>
            </a:endParaRPr>
          </a:p>
          <a:p>
            <a:pPr>
              <a:buChar char="§"/>
            </a:pPr>
            <a:endParaRPr lang="en-US" sz="2400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57404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642ED54-6BB7-4AF4-AEEB-E10C2AF865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sign Consulting Assistanc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F6E00FD-7F1F-4784-BCE5-6E77B9205D8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 sz="2400"/>
              <a:t>Outside consultants were leveraged to provide insight into real world practices</a:t>
            </a:r>
          </a:p>
          <a:p>
            <a:r>
              <a:rPr lang="en-US" sz="2400"/>
              <a:t>Capital Data provided VMware and NSX Design expertise</a:t>
            </a:r>
            <a:endParaRPr lang="en-US" sz="2400">
              <a:cs typeface="Calibri"/>
            </a:endParaRPr>
          </a:p>
          <a:p>
            <a:r>
              <a:rPr lang="en-US" sz="2400"/>
              <a:t>Capital Data also had a deep understanding of UW-Madison’s VMware environment</a:t>
            </a:r>
            <a:endParaRPr lang="en-US" sz="2400">
              <a:cs typeface="Calibri"/>
            </a:endParaRPr>
          </a:p>
          <a:p>
            <a:r>
              <a:rPr lang="en-US" sz="2400"/>
              <a:t>CDW-G will provide expertise for SD-WAN and DR / Failover network design</a:t>
            </a:r>
            <a:endParaRPr lang="en-US" sz="2400">
              <a:cs typeface="Calibri"/>
            </a:endParaRP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6669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34C44F-505D-496B-A540-DD55457CE9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uiding Princip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3EA37D-FAE2-426A-87B9-7719A903089F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US" sz="240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creation of this network needed to be many things</a:t>
            </a:r>
            <a:endParaRPr lang="en-US" sz="24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24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calable – provide a solution that can grow as the demand increases</a:t>
            </a:r>
          </a:p>
          <a:p>
            <a:pPr lvl="1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24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lexible  – solution needed to allow for different needs of each campus</a:t>
            </a:r>
          </a:p>
          <a:p>
            <a:pPr lvl="1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24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peatable – ability to use a “template” to provide a consistent experience </a:t>
            </a:r>
          </a:p>
          <a:p>
            <a:pPr lvl="1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24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mple – reduce any unnecessary complexity wherever possib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209647-00A5-4C1E-AE62-58E3EED4346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10313"/>
            <a:ext cx="2743200" cy="365125"/>
          </a:xfrm>
        </p:spPr>
        <p:txBody>
          <a:bodyPr/>
          <a:lstStyle/>
          <a:p>
            <a:fld id="{36B2801F-AB2E-47A4-A198-B654C0E81C22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755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A0C5F5-55DD-40C7-AC72-9714B6AA9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twork 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18BD97-43ED-459D-A6AC-65FC66743C49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sz="2400"/>
              <a:t>Server and network infrastructure will be identical at DET and OneNeck data centers</a:t>
            </a:r>
          </a:p>
          <a:p>
            <a:r>
              <a:rPr lang="en-US" sz="2400"/>
              <a:t>UW-Madison services will be available via SysNet as needed (Oracle Exadata, Bucky, etc)</a:t>
            </a:r>
            <a:endParaRPr lang="en-US" sz="2400">
              <a:cs typeface="Calibri"/>
            </a:endParaRPr>
          </a:p>
          <a:p>
            <a:r>
              <a:rPr lang="en-US" sz="2400"/>
              <a:t>VMware tools, backup, and replication services will be provided by UW-Madison </a:t>
            </a:r>
          </a:p>
          <a:p>
            <a:r>
              <a:rPr lang="en-US" sz="2400"/>
              <a:t>Each Campus will have a pair of ITaaS managed routers to connect to data centers for the purpose of tunneling specific traffic.</a:t>
            </a:r>
            <a:endParaRPr lang="en-US" sz="240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492482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AB709B-E229-4DC8-A202-FAA11504D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twork 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EBB404-D744-42D7-9145-74CB63FDE6EF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 sz="2400"/>
              <a:t>Campus routers will provide secure method of transport via SD-WAN for access to</a:t>
            </a:r>
          </a:p>
          <a:p>
            <a:pPr lvl="2"/>
            <a:r>
              <a:rPr lang="en-US" sz="2400"/>
              <a:t>SMB file shares</a:t>
            </a:r>
          </a:p>
          <a:p>
            <a:pPr lvl="2">
              <a:lnSpc>
                <a:spcPct val="100000"/>
              </a:lnSpc>
            </a:pPr>
            <a:r>
              <a:rPr lang="en-US" sz="2400"/>
              <a:t>Legacy thick client applications</a:t>
            </a:r>
          </a:p>
          <a:p>
            <a:pPr lvl="2" algn="just">
              <a:lnSpc>
                <a:spcPct val="100000"/>
              </a:lnSpc>
            </a:pPr>
            <a:r>
              <a:rPr lang="en-US" sz="2400"/>
              <a:t>Applications accessing sensitive data with no native encryption</a:t>
            </a:r>
          </a:p>
          <a:p>
            <a:pPr>
              <a:lnSpc>
                <a:spcPct val="150000"/>
              </a:lnSpc>
              <a:buClr>
                <a:srgbClr val="303030"/>
              </a:buClr>
            </a:pPr>
            <a:r>
              <a:rPr lang="en-US" sz="2400"/>
              <a:t>All public services will be accessed via the Internet (not SD-WAN tunnel)</a:t>
            </a:r>
          </a:p>
          <a:p>
            <a:r>
              <a:rPr lang="en-US" sz="2400"/>
              <a:t>All services will use 143.235.x.x IP address space avoiding any possible address conflicts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40722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Graphical user interface, diagram, application&#10;&#10;Description automatically generated">
            <a:extLst>
              <a:ext uri="{FF2B5EF4-FFF2-40B4-BE49-F238E27FC236}">
                <a16:creationId xmlns:a16="http://schemas.microsoft.com/office/drawing/2014/main" id="{72571FE5-0A54-4048-B55D-F5810166C1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837" y="0"/>
            <a:ext cx="11533237" cy="683011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D8CD2AA-317F-43B6-9F88-A1299C0565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" y="-4198"/>
            <a:ext cx="2101075" cy="456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3110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453155-3C08-423D-9DDA-07FFE96CF7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twork Hardware Detai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DF86D1-03EC-4D78-AA8C-87D594834A91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2400"/>
              <a:t>Each data center will have the following network gear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400"/>
              <a:t>A pair of Juniper MX204 routers managed by SysNet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/>
              <a:t>A pair of Cisco 8500 Routers with SD-WAN at the edge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/>
              <a:t>A pair of Cisco Firepower 4112 Firewalls provide North-South access control</a:t>
            </a:r>
          </a:p>
          <a:p>
            <a:pPr lvl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400"/>
              <a:t>A pair of Cisco Catalyst 9500 switches will provide connectivity for the environment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574768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Diagram&#10;&#10;Description automatically generated">
            <a:extLst>
              <a:ext uri="{FF2B5EF4-FFF2-40B4-BE49-F238E27FC236}">
                <a16:creationId xmlns:a16="http://schemas.microsoft.com/office/drawing/2014/main" id="{3C0F875B-336F-49AB-9463-48DCA631CA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1311" y="0"/>
            <a:ext cx="9346989" cy="70485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C4A18D3-0417-4E15-A326-EECC652D5A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" y="-4198"/>
            <a:ext cx="2101075" cy="456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763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CCD73F3-EFE8-4078-A2FF-63FCC47884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Is VMware NSX-T?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7823EB6-B188-4586-B1A7-F75B6213DC61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 sz="2400"/>
              <a:t>NSX is a Software Defined Networking (SDN) solution for data centers</a:t>
            </a:r>
          </a:p>
          <a:p>
            <a:r>
              <a:rPr lang="en-US" sz="2400"/>
              <a:t>Can provide switching, routing, firewalling, load balancing, GSLB, and much more</a:t>
            </a:r>
          </a:p>
          <a:p>
            <a:r>
              <a:rPr lang="en-US" sz="2400"/>
              <a:t>Can provide micro-segmentation for fine grain East-West control</a:t>
            </a:r>
          </a:p>
          <a:p>
            <a:r>
              <a:rPr lang="en-US" sz="2400"/>
              <a:t>Can provide high availability for workloads across data centers including cloud providers</a:t>
            </a:r>
            <a:endParaRPr lang="en-US" sz="2400">
              <a:cs typeface="Calibri"/>
            </a:endParaRP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519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26E201-9773-493F-A3DD-DD26C33200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SX Network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836173-EF0D-49CE-BC63-7E521D20CE08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en-US" sz="24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SX Edge services nodes are the bridge between the physical and virtual networks </a:t>
            </a: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en-US" sz="24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ithin NSX, several zones will have servers attached based upon their use</a:t>
            </a: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en-US" sz="2400">
                <a:effectLst/>
                <a:latin typeface="Calibri"/>
                <a:ea typeface="Calibri" panose="020F0502020204030204" pitchFamily="34" charset="0"/>
                <a:cs typeface="Times New Roman"/>
              </a:rPr>
              <a:t>Access between zones will be controlled by</a:t>
            </a:r>
            <a:r>
              <a:rPr lang="en-US" sz="2400">
                <a:latin typeface="Calibri"/>
                <a:ea typeface="Calibri" panose="020F0502020204030204" pitchFamily="34" charset="0"/>
                <a:cs typeface="Times New Roman"/>
              </a:rPr>
              <a:t> the</a:t>
            </a:r>
            <a:r>
              <a:rPr lang="en-US" sz="2400">
                <a:effectLst/>
                <a:latin typeface="Calibri"/>
                <a:ea typeface="Calibri" panose="020F0502020204030204" pitchFamily="34" charset="0"/>
                <a:cs typeface="Times New Roman"/>
              </a:rPr>
              <a:t> </a:t>
            </a:r>
            <a:r>
              <a:rPr lang="en-US" sz="2400">
                <a:latin typeface="Calibri"/>
                <a:ea typeface="Calibri" panose="020F0502020204030204" pitchFamily="34" charset="0"/>
                <a:cs typeface="Times New Roman"/>
              </a:rPr>
              <a:t>distributed firewall </a:t>
            </a:r>
            <a:r>
              <a:rPr lang="en-US" sz="2400">
                <a:effectLst/>
                <a:latin typeface="Calibri"/>
                <a:ea typeface="Calibri" panose="020F0502020204030204" pitchFamily="34" charset="0"/>
                <a:cs typeface="Times New Roman"/>
              </a:rPr>
              <a:t>within NSX</a:t>
            </a:r>
            <a:r>
              <a:rPr lang="en-US" sz="2400">
                <a:latin typeface="Calibri"/>
                <a:ea typeface="Calibri" panose="020F0502020204030204" pitchFamily="34" charset="0"/>
                <a:cs typeface="Times New Roman"/>
              </a:rPr>
              <a:t> </a:t>
            </a:r>
            <a:endParaRPr lang="en-US" sz="2400">
              <a:effectLst/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en-US" sz="2400">
                <a:effectLst/>
                <a:latin typeface="Calibri"/>
                <a:ea typeface="Calibri" panose="020F0502020204030204" pitchFamily="34" charset="0"/>
                <a:cs typeface="Times New Roman"/>
              </a:rPr>
              <a:t>Services can pass through the Avi Networks load balancer within NSX if required for HA</a:t>
            </a: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en-US" sz="24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ver failover between sites will use Global Server Load Balancing (GSLB) within NSX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92208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95C31D4-D91B-4CEC-A1B6-4278721851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3C328B-F647-44A8-9B0D-201C7FAEEDC9}"/>
              </a:ext>
            </a:extLst>
          </p:cNvPr>
          <p:cNvSpPr/>
          <p:nvPr/>
        </p:nvSpPr>
        <p:spPr>
          <a:xfrm>
            <a:off x="198722" y="5904653"/>
            <a:ext cx="11721135" cy="8889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4ADCB86-1771-4312-B847-60330732CA25}"/>
              </a:ext>
            </a:extLst>
          </p:cNvPr>
          <p:cNvSpPr/>
          <p:nvPr/>
        </p:nvSpPr>
        <p:spPr>
          <a:xfrm>
            <a:off x="6066604" y="5242753"/>
            <a:ext cx="6206561" cy="1478907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370E79EC-0049-4CFB-B398-9F94070037F4}"/>
              </a:ext>
            </a:extLst>
          </p:cNvPr>
          <p:cNvSpPr/>
          <p:nvPr/>
        </p:nvSpPr>
        <p:spPr>
          <a:xfrm>
            <a:off x="6042282" y="3228035"/>
            <a:ext cx="6206561" cy="202596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B3EBD25C-A533-461E-A174-AEE5EB5A9FEC}"/>
              </a:ext>
            </a:extLst>
          </p:cNvPr>
          <p:cNvSpPr/>
          <p:nvPr/>
        </p:nvSpPr>
        <p:spPr>
          <a:xfrm>
            <a:off x="6052457" y="194199"/>
            <a:ext cx="6206561" cy="3035233"/>
          </a:xfrm>
          <a:prstGeom prst="rect">
            <a:avLst/>
          </a:prstGeom>
          <a:solidFill>
            <a:srgbClr val="C18D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3148DF19-7C83-492E-A666-8248678E03ED}"/>
              </a:ext>
            </a:extLst>
          </p:cNvPr>
          <p:cNvSpPr/>
          <p:nvPr/>
        </p:nvSpPr>
        <p:spPr>
          <a:xfrm>
            <a:off x="56506" y="205085"/>
            <a:ext cx="11991902" cy="6515384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2" name="Isosceles Triangle 81">
            <a:extLst>
              <a:ext uri="{FF2B5EF4-FFF2-40B4-BE49-F238E27FC236}">
                <a16:creationId xmlns:a16="http://schemas.microsoft.com/office/drawing/2014/main" id="{6955F444-920B-44A8-B51A-CF19E7E98783}"/>
              </a:ext>
            </a:extLst>
          </p:cNvPr>
          <p:cNvSpPr/>
          <p:nvPr/>
        </p:nvSpPr>
        <p:spPr>
          <a:xfrm>
            <a:off x="1406905" y="227370"/>
            <a:ext cx="9310256" cy="5030383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0" y="691861"/>
            <a:ext cx="3411794" cy="628927"/>
          </a:xfrm>
          <a:solidFill>
            <a:schemeClr val="bg1"/>
          </a:solidFill>
        </p:spPr>
        <p:txBody>
          <a:bodyPr>
            <a:noAutofit/>
          </a:bodyPr>
          <a:lstStyle/>
          <a:p>
            <a:pPr lvl="0" algn="l">
              <a:spcAft>
                <a:spcPts val="1200"/>
              </a:spcAft>
              <a:defRPr/>
            </a:pPr>
            <a:r>
              <a:rPr lang="en-US" sz="2000">
                <a:solidFill>
                  <a:srgbClr val="74082C"/>
                </a:solidFill>
                <a:latin typeface="Arial Black"/>
              </a:rPr>
              <a:t>ITaaS Service Portfolio</a:t>
            </a:r>
            <a:endParaRPr lang="en-US" sz="2000" strike="sngStrike">
              <a:solidFill>
                <a:srgbClr val="FF0000"/>
              </a:solidFill>
              <a:latin typeface="Arial Black"/>
            </a:endParaRPr>
          </a:p>
        </p:txBody>
      </p:sp>
      <p:sp>
        <p:nvSpPr>
          <p:cNvPr id="39" name="TextBox 64"/>
          <p:cNvSpPr txBox="1">
            <a:spLocks noChangeArrowheads="1"/>
          </p:cNvSpPr>
          <p:nvPr/>
        </p:nvSpPr>
        <p:spPr bwMode="auto">
          <a:xfrm>
            <a:off x="2942023" y="3601285"/>
            <a:ext cx="944169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rIns="0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re IT </a:t>
            </a:r>
            <a:b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rations</a:t>
            </a: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663EB385-04C0-475A-95B7-BA3C0254669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-24728"/>
            <a:ext cx="3298272" cy="716589"/>
          </a:xfrm>
          <a:prstGeom prst="rect">
            <a:avLst/>
          </a:prstGeom>
        </p:spPr>
      </p:pic>
      <p:sp>
        <p:nvSpPr>
          <p:cNvPr id="67" name="Rounded Rectangle 27">
            <a:extLst>
              <a:ext uri="{FF2B5EF4-FFF2-40B4-BE49-F238E27FC236}">
                <a16:creationId xmlns:a16="http://schemas.microsoft.com/office/drawing/2014/main" id="{7ED923C8-0072-4430-A6EC-6E66D46DE482}"/>
              </a:ext>
            </a:extLst>
          </p:cNvPr>
          <p:cNvSpPr/>
          <p:nvPr/>
        </p:nvSpPr>
        <p:spPr bwMode="auto">
          <a:xfrm>
            <a:off x="2988189" y="5350737"/>
            <a:ext cx="2980885" cy="1302178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7160" tIns="34290" rIns="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calable infrastructure services and platforms to power enterprise applications, access and integration across the System</a:t>
            </a:r>
          </a:p>
        </p:txBody>
      </p:sp>
      <p:sp>
        <p:nvSpPr>
          <p:cNvPr id="44" name="TextBox 64">
            <a:extLst>
              <a:ext uri="{FF2B5EF4-FFF2-40B4-BE49-F238E27FC236}">
                <a16:creationId xmlns:a16="http://schemas.microsoft.com/office/drawing/2014/main" id="{7F4F19D8-896F-49CF-A538-57D1A1DEDD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0983" y="5476653"/>
            <a:ext cx="132889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rIns="0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ndational IT</a:t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CFB70BC2-77F8-49D0-B351-3330B4C59002}"/>
              </a:ext>
            </a:extLst>
          </p:cNvPr>
          <p:cNvCxnSpPr>
            <a:cxnSpLocks/>
          </p:cNvCxnSpPr>
          <p:nvPr/>
        </p:nvCxnSpPr>
        <p:spPr>
          <a:xfrm>
            <a:off x="4206756" y="3355682"/>
            <a:ext cx="0" cy="1781276"/>
          </a:xfrm>
          <a:prstGeom prst="line">
            <a:avLst/>
          </a:prstGeom>
          <a:ln w="571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365A69B1-9DDA-4AD2-A606-DB84233AC074}"/>
              </a:ext>
            </a:extLst>
          </p:cNvPr>
          <p:cNvCxnSpPr>
            <a:cxnSpLocks/>
          </p:cNvCxnSpPr>
          <p:nvPr/>
        </p:nvCxnSpPr>
        <p:spPr>
          <a:xfrm>
            <a:off x="2774749" y="5352701"/>
            <a:ext cx="0" cy="1278442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Isosceles Triangle 58">
            <a:extLst>
              <a:ext uri="{FF2B5EF4-FFF2-40B4-BE49-F238E27FC236}">
                <a16:creationId xmlns:a16="http://schemas.microsoft.com/office/drawing/2014/main" id="{37121B32-E882-473E-AEB0-20AC2B1E4ADA}"/>
              </a:ext>
            </a:extLst>
          </p:cNvPr>
          <p:cNvSpPr/>
          <p:nvPr/>
        </p:nvSpPr>
        <p:spPr>
          <a:xfrm>
            <a:off x="3263493" y="202622"/>
            <a:ext cx="5577929" cy="3022950"/>
          </a:xfrm>
          <a:prstGeom prst="triangle">
            <a:avLst/>
          </a:prstGeom>
          <a:solidFill>
            <a:srgbClr val="C18D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TextBox 64"/>
          <p:cNvSpPr txBox="1">
            <a:spLocks noChangeArrowheads="1"/>
          </p:cNvSpPr>
          <p:nvPr/>
        </p:nvSpPr>
        <p:spPr bwMode="auto">
          <a:xfrm>
            <a:off x="4967947" y="1320788"/>
            <a:ext cx="942566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rIns="0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ssion </a:t>
            </a:r>
            <a:b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cused IT</a:t>
            </a:r>
          </a:p>
        </p:txBody>
      </p:sp>
      <p:sp>
        <p:nvSpPr>
          <p:cNvPr id="73" name="Rounded Rectangle 29">
            <a:extLst>
              <a:ext uri="{FF2B5EF4-FFF2-40B4-BE49-F238E27FC236}">
                <a16:creationId xmlns:a16="http://schemas.microsoft.com/office/drawing/2014/main" id="{956E12D2-387C-4542-A1A1-C2E3C8C67958}"/>
              </a:ext>
            </a:extLst>
          </p:cNvPr>
          <p:cNvSpPr/>
          <p:nvPr/>
        </p:nvSpPr>
        <p:spPr bwMode="auto">
          <a:xfrm>
            <a:off x="4418283" y="3470827"/>
            <a:ext cx="2503625" cy="1589930"/>
          </a:xfrm>
          <a:prstGeom prst="roundRect">
            <a:avLst/>
          </a:prstGeom>
          <a:solidFill>
            <a:srgbClr val="67829F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7160" tIns="34290" rIns="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re IT Service offerings to support common collaboration, security and productivity required by all institutions </a:t>
            </a:r>
          </a:p>
        </p:txBody>
      </p:sp>
      <p:sp>
        <p:nvSpPr>
          <p:cNvPr id="80" name="Rounded Rectangle 35">
            <a:extLst>
              <a:ext uri="{FF2B5EF4-FFF2-40B4-BE49-F238E27FC236}">
                <a16:creationId xmlns:a16="http://schemas.microsoft.com/office/drawing/2014/main" id="{94575D49-37E5-4065-BFBF-3EDF756FC1CA}"/>
              </a:ext>
            </a:extLst>
          </p:cNvPr>
          <p:cNvSpPr/>
          <p:nvPr/>
        </p:nvSpPr>
        <p:spPr bwMode="auto">
          <a:xfrm>
            <a:off x="6254550" y="587311"/>
            <a:ext cx="2362783" cy="2398216"/>
          </a:xfrm>
          <a:prstGeom prst="roundRect">
            <a:avLst/>
          </a:prstGeom>
          <a:solidFill>
            <a:srgbClr val="74082C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7160" tIns="34290" rIns="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T Services that serve the missions of the university by strategically enabling teaching, research,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d public service 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483BF9F-9288-4032-B2A5-7FE2462139D1}"/>
              </a:ext>
            </a:extLst>
          </p:cNvPr>
          <p:cNvCxnSpPr>
            <a:cxnSpLocks/>
          </p:cNvCxnSpPr>
          <p:nvPr/>
        </p:nvCxnSpPr>
        <p:spPr>
          <a:xfrm>
            <a:off x="6052457" y="435429"/>
            <a:ext cx="0" cy="2654648"/>
          </a:xfrm>
          <a:prstGeom prst="line">
            <a:avLst/>
          </a:prstGeom>
          <a:ln w="57150">
            <a:solidFill>
              <a:srgbClr val="7F2A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6F55AF24-C25C-42A3-8226-EF6559BBDDD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88164" y="1844008"/>
            <a:ext cx="1466850" cy="257175"/>
          </a:xfrm>
          <a:prstGeom prst="rect">
            <a:avLst/>
          </a:prstGeom>
        </p:spPr>
      </p:pic>
      <p:sp>
        <p:nvSpPr>
          <p:cNvPr id="83" name="Freeform 423">
            <a:extLst>
              <a:ext uri="{FF2B5EF4-FFF2-40B4-BE49-F238E27FC236}">
                <a16:creationId xmlns:a16="http://schemas.microsoft.com/office/drawing/2014/main" id="{BB5991AA-BB6F-4C1E-BF29-B761C878D0C3}"/>
              </a:ext>
            </a:extLst>
          </p:cNvPr>
          <p:cNvSpPr>
            <a:spLocks noEditPoints="1"/>
          </p:cNvSpPr>
          <p:nvPr/>
        </p:nvSpPr>
        <p:spPr bwMode="black">
          <a:xfrm>
            <a:off x="3124388" y="4203878"/>
            <a:ext cx="579437" cy="404813"/>
          </a:xfrm>
          <a:custGeom>
            <a:avLst/>
            <a:gdLst>
              <a:gd name="T0" fmla="*/ 212 w 232"/>
              <a:gd name="T1" fmla="*/ 28 h 162"/>
              <a:gd name="T2" fmla="*/ 232 w 232"/>
              <a:gd name="T3" fmla="*/ 28 h 162"/>
              <a:gd name="T4" fmla="*/ 232 w 232"/>
              <a:gd name="T5" fmla="*/ 12 h 162"/>
              <a:gd name="T6" fmla="*/ 196 w 232"/>
              <a:gd name="T7" fmla="*/ 12 h 162"/>
              <a:gd name="T8" fmla="*/ 196 w 232"/>
              <a:gd name="T9" fmla="*/ 24 h 162"/>
              <a:gd name="T10" fmla="*/ 158 w 232"/>
              <a:gd name="T11" fmla="*/ 8 h 162"/>
              <a:gd name="T12" fmla="*/ 120 w 232"/>
              <a:gd name="T13" fmla="*/ 8 h 162"/>
              <a:gd name="T14" fmla="*/ 101 w 232"/>
              <a:gd name="T15" fmla="*/ 16 h 162"/>
              <a:gd name="T16" fmla="*/ 36 w 232"/>
              <a:gd name="T17" fmla="*/ 16 h 162"/>
              <a:gd name="T18" fmla="*/ 36 w 232"/>
              <a:gd name="T19" fmla="*/ 0 h 162"/>
              <a:gd name="T20" fmla="*/ 0 w 232"/>
              <a:gd name="T21" fmla="*/ 0 h 162"/>
              <a:gd name="T22" fmla="*/ 0 w 232"/>
              <a:gd name="T23" fmla="*/ 16 h 162"/>
              <a:gd name="T24" fmla="*/ 20 w 232"/>
              <a:gd name="T25" fmla="*/ 16 h 162"/>
              <a:gd name="T26" fmla="*/ 20 w 232"/>
              <a:gd name="T27" fmla="*/ 108 h 162"/>
              <a:gd name="T28" fmla="*/ 0 w 232"/>
              <a:gd name="T29" fmla="*/ 108 h 162"/>
              <a:gd name="T30" fmla="*/ 0 w 232"/>
              <a:gd name="T31" fmla="*/ 124 h 162"/>
              <a:gd name="T32" fmla="*/ 36 w 232"/>
              <a:gd name="T33" fmla="*/ 124 h 162"/>
              <a:gd name="T34" fmla="*/ 36 w 232"/>
              <a:gd name="T35" fmla="*/ 112 h 162"/>
              <a:gd name="T36" fmla="*/ 44 w 232"/>
              <a:gd name="T37" fmla="*/ 112 h 162"/>
              <a:gd name="T38" fmla="*/ 65 w 232"/>
              <a:gd name="T39" fmla="*/ 146 h 162"/>
              <a:gd name="T40" fmla="*/ 79 w 232"/>
              <a:gd name="T41" fmla="*/ 158 h 162"/>
              <a:gd name="T42" fmla="*/ 94 w 232"/>
              <a:gd name="T43" fmla="*/ 162 h 162"/>
              <a:gd name="T44" fmla="*/ 104 w 232"/>
              <a:gd name="T45" fmla="*/ 161 h 162"/>
              <a:gd name="T46" fmla="*/ 157 w 232"/>
              <a:gd name="T47" fmla="*/ 145 h 162"/>
              <a:gd name="T48" fmla="*/ 185 w 232"/>
              <a:gd name="T49" fmla="*/ 124 h 162"/>
              <a:gd name="T50" fmla="*/ 196 w 232"/>
              <a:gd name="T51" fmla="*/ 124 h 162"/>
              <a:gd name="T52" fmla="*/ 196 w 232"/>
              <a:gd name="T53" fmla="*/ 136 h 162"/>
              <a:gd name="T54" fmla="*/ 232 w 232"/>
              <a:gd name="T55" fmla="*/ 136 h 162"/>
              <a:gd name="T56" fmla="*/ 232 w 232"/>
              <a:gd name="T57" fmla="*/ 120 h 162"/>
              <a:gd name="T58" fmla="*/ 212 w 232"/>
              <a:gd name="T59" fmla="*/ 120 h 162"/>
              <a:gd name="T60" fmla="*/ 212 w 232"/>
              <a:gd name="T61" fmla="*/ 31 h 162"/>
              <a:gd name="T62" fmla="*/ 212 w 232"/>
              <a:gd name="T63" fmla="*/ 28 h 162"/>
              <a:gd name="T64" fmla="*/ 153 w 232"/>
              <a:gd name="T65" fmla="*/ 129 h 162"/>
              <a:gd name="T66" fmla="*/ 100 w 232"/>
              <a:gd name="T67" fmla="*/ 145 h 162"/>
              <a:gd name="T68" fmla="*/ 86 w 232"/>
              <a:gd name="T69" fmla="*/ 144 h 162"/>
              <a:gd name="T70" fmla="*/ 79 w 232"/>
              <a:gd name="T71" fmla="*/ 137 h 162"/>
              <a:gd name="T72" fmla="*/ 52 w 232"/>
              <a:gd name="T73" fmla="*/ 96 h 162"/>
              <a:gd name="T74" fmla="*/ 36 w 232"/>
              <a:gd name="T75" fmla="*/ 96 h 162"/>
              <a:gd name="T76" fmla="*/ 36 w 232"/>
              <a:gd name="T77" fmla="*/ 32 h 162"/>
              <a:gd name="T78" fmla="*/ 85 w 232"/>
              <a:gd name="T79" fmla="*/ 32 h 162"/>
              <a:gd name="T80" fmla="*/ 53 w 232"/>
              <a:gd name="T81" fmla="*/ 64 h 162"/>
              <a:gd name="T82" fmla="*/ 63 w 232"/>
              <a:gd name="T83" fmla="*/ 74 h 162"/>
              <a:gd name="T84" fmla="*/ 88 w 232"/>
              <a:gd name="T85" fmla="*/ 85 h 162"/>
              <a:gd name="T86" fmla="*/ 88 w 232"/>
              <a:gd name="T87" fmla="*/ 85 h 162"/>
              <a:gd name="T88" fmla="*/ 114 w 232"/>
              <a:gd name="T89" fmla="*/ 74 h 162"/>
              <a:gd name="T90" fmla="*/ 123 w 232"/>
              <a:gd name="T91" fmla="*/ 64 h 162"/>
              <a:gd name="T92" fmla="*/ 136 w 232"/>
              <a:gd name="T93" fmla="*/ 64 h 162"/>
              <a:gd name="T94" fmla="*/ 170 w 232"/>
              <a:gd name="T95" fmla="*/ 116 h 162"/>
              <a:gd name="T96" fmla="*/ 153 w 232"/>
              <a:gd name="T97" fmla="*/ 129 h 162"/>
              <a:gd name="T98" fmla="*/ 184 w 232"/>
              <a:gd name="T99" fmla="*/ 108 h 162"/>
              <a:gd name="T100" fmla="*/ 144 w 232"/>
              <a:gd name="T101" fmla="*/ 48 h 162"/>
              <a:gd name="T102" fmla="*/ 117 w 232"/>
              <a:gd name="T103" fmla="*/ 48 h 162"/>
              <a:gd name="T104" fmla="*/ 102 w 232"/>
              <a:gd name="T105" fmla="*/ 63 h 162"/>
              <a:gd name="T106" fmla="*/ 88 w 232"/>
              <a:gd name="T107" fmla="*/ 69 h 162"/>
              <a:gd name="T108" fmla="*/ 88 w 232"/>
              <a:gd name="T109" fmla="*/ 69 h 162"/>
              <a:gd name="T110" fmla="*/ 75 w 232"/>
              <a:gd name="T111" fmla="*/ 64 h 162"/>
              <a:gd name="T112" fmla="*/ 112 w 232"/>
              <a:gd name="T113" fmla="*/ 27 h 162"/>
              <a:gd name="T114" fmla="*/ 120 w 232"/>
              <a:gd name="T115" fmla="*/ 24 h 162"/>
              <a:gd name="T116" fmla="*/ 154 w 232"/>
              <a:gd name="T117" fmla="*/ 24 h 162"/>
              <a:gd name="T118" fmla="*/ 196 w 232"/>
              <a:gd name="T119" fmla="*/ 42 h 162"/>
              <a:gd name="T120" fmla="*/ 196 w 232"/>
              <a:gd name="T121" fmla="*/ 108 h 162"/>
              <a:gd name="T122" fmla="*/ 184 w 232"/>
              <a:gd name="T123" fmla="*/ 108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32" h="162">
                <a:moveTo>
                  <a:pt x="212" y="28"/>
                </a:moveTo>
                <a:cubicBezTo>
                  <a:pt x="232" y="28"/>
                  <a:pt x="232" y="28"/>
                  <a:pt x="232" y="28"/>
                </a:cubicBezTo>
                <a:cubicBezTo>
                  <a:pt x="232" y="12"/>
                  <a:pt x="232" y="12"/>
                  <a:pt x="232" y="12"/>
                </a:cubicBezTo>
                <a:cubicBezTo>
                  <a:pt x="196" y="12"/>
                  <a:pt x="196" y="12"/>
                  <a:pt x="196" y="12"/>
                </a:cubicBezTo>
                <a:cubicBezTo>
                  <a:pt x="196" y="24"/>
                  <a:pt x="196" y="24"/>
                  <a:pt x="196" y="24"/>
                </a:cubicBezTo>
                <a:cubicBezTo>
                  <a:pt x="158" y="8"/>
                  <a:pt x="158" y="8"/>
                  <a:pt x="158" y="8"/>
                </a:cubicBezTo>
                <a:cubicBezTo>
                  <a:pt x="120" y="8"/>
                  <a:pt x="120" y="8"/>
                  <a:pt x="120" y="8"/>
                </a:cubicBezTo>
                <a:cubicBezTo>
                  <a:pt x="113" y="8"/>
                  <a:pt x="106" y="11"/>
                  <a:pt x="101" y="16"/>
                </a:cubicBezTo>
                <a:cubicBezTo>
                  <a:pt x="36" y="16"/>
                  <a:pt x="36" y="16"/>
                  <a:pt x="36" y="16"/>
                </a:cubicBezTo>
                <a:cubicBezTo>
                  <a:pt x="36" y="0"/>
                  <a:pt x="36" y="0"/>
                  <a:pt x="36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"/>
                  <a:pt x="0" y="16"/>
                  <a:pt x="0" y="16"/>
                </a:cubicBezTo>
                <a:cubicBezTo>
                  <a:pt x="20" y="16"/>
                  <a:pt x="20" y="16"/>
                  <a:pt x="20" y="16"/>
                </a:cubicBezTo>
                <a:cubicBezTo>
                  <a:pt x="20" y="108"/>
                  <a:pt x="20" y="108"/>
                  <a:pt x="20" y="108"/>
                </a:cubicBezTo>
                <a:cubicBezTo>
                  <a:pt x="0" y="108"/>
                  <a:pt x="0" y="108"/>
                  <a:pt x="0" y="108"/>
                </a:cubicBezTo>
                <a:cubicBezTo>
                  <a:pt x="0" y="124"/>
                  <a:pt x="0" y="124"/>
                  <a:pt x="0" y="124"/>
                </a:cubicBezTo>
                <a:cubicBezTo>
                  <a:pt x="36" y="124"/>
                  <a:pt x="36" y="124"/>
                  <a:pt x="36" y="124"/>
                </a:cubicBezTo>
                <a:cubicBezTo>
                  <a:pt x="36" y="112"/>
                  <a:pt x="36" y="112"/>
                  <a:pt x="36" y="112"/>
                </a:cubicBezTo>
                <a:cubicBezTo>
                  <a:pt x="44" y="112"/>
                  <a:pt x="44" y="112"/>
                  <a:pt x="44" y="112"/>
                </a:cubicBezTo>
                <a:cubicBezTo>
                  <a:pt x="65" y="146"/>
                  <a:pt x="65" y="146"/>
                  <a:pt x="65" y="146"/>
                </a:cubicBezTo>
                <a:cubicBezTo>
                  <a:pt x="69" y="151"/>
                  <a:pt x="73" y="156"/>
                  <a:pt x="79" y="158"/>
                </a:cubicBezTo>
                <a:cubicBezTo>
                  <a:pt x="84" y="161"/>
                  <a:pt x="89" y="162"/>
                  <a:pt x="94" y="162"/>
                </a:cubicBezTo>
                <a:cubicBezTo>
                  <a:pt x="98" y="162"/>
                  <a:pt x="101" y="162"/>
                  <a:pt x="104" y="161"/>
                </a:cubicBezTo>
                <a:cubicBezTo>
                  <a:pt x="157" y="145"/>
                  <a:pt x="157" y="145"/>
                  <a:pt x="157" y="145"/>
                </a:cubicBezTo>
                <a:cubicBezTo>
                  <a:pt x="168" y="141"/>
                  <a:pt x="178" y="134"/>
                  <a:pt x="185" y="124"/>
                </a:cubicBezTo>
                <a:cubicBezTo>
                  <a:pt x="196" y="124"/>
                  <a:pt x="196" y="124"/>
                  <a:pt x="196" y="124"/>
                </a:cubicBezTo>
                <a:cubicBezTo>
                  <a:pt x="196" y="136"/>
                  <a:pt x="196" y="136"/>
                  <a:pt x="196" y="136"/>
                </a:cubicBezTo>
                <a:cubicBezTo>
                  <a:pt x="232" y="136"/>
                  <a:pt x="232" y="136"/>
                  <a:pt x="232" y="136"/>
                </a:cubicBezTo>
                <a:cubicBezTo>
                  <a:pt x="232" y="120"/>
                  <a:pt x="232" y="120"/>
                  <a:pt x="232" y="120"/>
                </a:cubicBezTo>
                <a:cubicBezTo>
                  <a:pt x="212" y="120"/>
                  <a:pt x="212" y="120"/>
                  <a:pt x="212" y="120"/>
                </a:cubicBezTo>
                <a:cubicBezTo>
                  <a:pt x="212" y="31"/>
                  <a:pt x="212" y="31"/>
                  <a:pt x="212" y="31"/>
                </a:cubicBezTo>
                <a:lnTo>
                  <a:pt x="212" y="28"/>
                </a:lnTo>
                <a:close/>
                <a:moveTo>
                  <a:pt x="153" y="129"/>
                </a:moveTo>
                <a:cubicBezTo>
                  <a:pt x="100" y="145"/>
                  <a:pt x="100" y="145"/>
                  <a:pt x="100" y="145"/>
                </a:cubicBezTo>
                <a:cubicBezTo>
                  <a:pt x="95" y="147"/>
                  <a:pt x="90" y="146"/>
                  <a:pt x="86" y="144"/>
                </a:cubicBezTo>
                <a:cubicBezTo>
                  <a:pt x="83" y="143"/>
                  <a:pt x="81" y="140"/>
                  <a:pt x="79" y="137"/>
                </a:cubicBezTo>
                <a:cubicBezTo>
                  <a:pt x="52" y="96"/>
                  <a:pt x="52" y="96"/>
                  <a:pt x="52" y="96"/>
                </a:cubicBezTo>
                <a:cubicBezTo>
                  <a:pt x="36" y="96"/>
                  <a:pt x="36" y="96"/>
                  <a:pt x="36" y="96"/>
                </a:cubicBezTo>
                <a:cubicBezTo>
                  <a:pt x="36" y="32"/>
                  <a:pt x="36" y="32"/>
                  <a:pt x="36" y="32"/>
                </a:cubicBezTo>
                <a:cubicBezTo>
                  <a:pt x="85" y="32"/>
                  <a:pt x="85" y="32"/>
                  <a:pt x="85" y="32"/>
                </a:cubicBezTo>
                <a:cubicBezTo>
                  <a:pt x="53" y="64"/>
                  <a:pt x="53" y="64"/>
                  <a:pt x="53" y="64"/>
                </a:cubicBezTo>
                <a:cubicBezTo>
                  <a:pt x="63" y="74"/>
                  <a:pt x="63" y="74"/>
                  <a:pt x="63" y="74"/>
                </a:cubicBezTo>
                <a:cubicBezTo>
                  <a:pt x="69" y="81"/>
                  <a:pt x="78" y="85"/>
                  <a:pt x="88" y="85"/>
                </a:cubicBezTo>
                <a:cubicBezTo>
                  <a:pt x="88" y="85"/>
                  <a:pt x="88" y="85"/>
                  <a:pt x="88" y="85"/>
                </a:cubicBezTo>
                <a:cubicBezTo>
                  <a:pt x="98" y="85"/>
                  <a:pt x="107" y="81"/>
                  <a:pt x="114" y="74"/>
                </a:cubicBezTo>
                <a:cubicBezTo>
                  <a:pt x="123" y="64"/>
                  <a:pt x="123" y="64"/>
                  <a:pt x="123" y="64"/>
                </a:cubicBezTo>
                <a:cubicBezTo>
                  <a:pt x="136" y="64"/>
                  <a:pt x="136" y="64"/>
                  <a:pt x="136" y="64"/>
                </a:cubicBezTo>
                <a:cubicBezTo>
                  <a:pt x="170" y="116"/>
                  <a:pt x="170" y="116"/>
                  <a:pt x="170" y="116"/>
                </a:cubicBezTo>
                <a:cubicBezTo>
                  <a:pt x="166" y="123"/>
                  <a:pt x="160" y="127"/>
                  <a:pt x="153" y="129"/>
                </a:cubicBezTo>
                <a:moveTo>
                  <a:pt x="184" y="108"/>
                </a:moveTo>
                <a:cubicBezTo>
                  <a:pt x="144" y="48"/>
                  <a:pt x="144" y="48"/>
                  <a:pt x="144" y="48"/>
                </a:cubicBezTo>
                <a:cubicBezTo>
                  <a:pt x="117" y="48"/>
                  <a:pt x="117" y="48"/>
                  <a:pt x="117" y="48"/>
                </a:cubicBezTo>
                <a:cubicBezTo>
                  <a:pt x="102" y="63"/>
                  <a:pt x="102" y="63"/>
                  <a:pt x="102" y="63"/>
                </a:cubicBezTo>
                <a:cubicBezTo>
                  <a:pt x="98" y="67"/>
                  <a:pt x="93" y="69"/>
                  <a:pt x="88" y="69"/>
                </a:cubicBezTo>
                <a:cubicBezTo>
                  <a:pt x="88" y="69"/>
                  <a:pt x="88" y="69"/>
                  <a:pt x="88" y="69"/>
                </a:cubicBezTo>
                <a:cubicBezTo>
                  <a:pt x="83" y="69"/>
                  <a:pt x="79" y="67"/>
                  <a:pt x="75" y="64"/>
                </a:cubicBezTo>
                <a:cubicBezTo>
                  <a:pt x="112" y="27"/>
                  <a:pt x="112" y="27"/>
                  <a:pt x="112" y="27"/>
                </a:cubicBezTo>
                <a:cubicBezTo>
                  <a:pt x="114" y="25"/>
                  <a:pt x="117" y="24"/>
                  <a:pt x="120" y="24"/>
                </a:cubicBezTo>
                <a:cubicBezTo>
                  <a:pt x="154" y="24"/>
                  <a:pt x="154" y="24"/>
                  <a:pt x="154" y="24"/>
                </a:cubicBezTo>
                <a:cubicBezTo>
                  <a:pt x="196" y="42"/>
                  <a:pt x="196" y="42"/>
                  <a:pt x="196" y="42"/>
                </a:cubicBezTo>
                <a:cubicBezTo>
                  <a:pt x="196" y="108"/>
                  <a:pt x="196" y="108"/>
                  <a:pt x="196" y="108"/>
                </a:cubicBezTo>
                <a:lnTo>
                  <a:pt x="184" y="10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D678EAA-8D7A-47C7-80C0-E802E5C7D15C}"/>
              </a:ext>
            </a:extLst>
          </p:cNvPr>
          <p:cNvSpPr txBox="1"/>
          <p:nvPr/>
        </p:nvSpPr>
        <p:spPr>
          <a:xfrm>
            <a:off x="8897928" y="1346793"/>
            <a:ext cx="2815101" cy="599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ere is differentiation of academic programs across the institutions, and local flexibility is needed to support those differences.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AD8E7E94-1A9D-4355-A276-2D5213A117F2}"/>
              </a:ext>
            </a:extLst>
          </p:cNvPr>
          <p:cNvSpPr txBox="1"/>
          <p:nvPr/>
        </p:nvSpPr>
        <p:spPr>
          <a:xfrm>
            <a:off x="7288362" y="3883282"/>
            <a:ext cx="4814086" cy="8023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mmodity IT services can be delivered by a unified team, composed of existing institutional staff, that combines for benefits of shared knowledge and  scale with the benefits of close local customer connection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EB3F0DE1-15DB-4AA9-93A3-7B1EC55F7F21}"/>
              </a:ext>
            </a:extLst>
          </p:cNvPr>
          <p:cNvSpPr txBox="1"/>
          <p:nvPr/>
        </p:nvSpPr>
        <p:spPr>
          <a:xfrm>
            <a:off x="6300458" y="5681705"/>
            <a:ext cx="5646419" cy="8023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oundational infrastructure services are not differentiating but must be high quality and cost effective.  To avoid unnecessary duplication, leverage UW-Madison services to achieve further scale and increased quality while ensuring existing services are not harmed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D0FB44B2-6681-4897-BF04-650AF756C70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GlowEdges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482713" y="5681705"/>
            <a:ext cx="842522" cy="842522"/>
          </a:xfrm>
          <a:prstGeom prst="rect">
            <a:avLst/>
          </a:prstGeom>
        </p:spPr>
      </p:pic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8E9A38E2-41B6-44CD-B7F8-9C1B6F5E4E6D}"/>
              </a:ext>
            </a:extLst>
          </p:cNvPr>
          <p:cNvCxnSpPr/>
          <p:nvPr/>
        </p:nvCxnSpPr>
        <p:spPr>
          <a:xfrm flipV="1">
            <a:off x="56506" y="202622"/>
            <a:ext cx="5995952" cy="6517847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1">
            <a:extLst>
              <a:ext uri="{FF2B5EF4-FFF2-40B4-BE49-F238E27FC236}">
                <a16:creationId xmlns:a16="http://schemas.microsoft.com/office/drawing/2014/main" id="{9D658281-83C3-47A4-BB15-7EBECA2DF529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prstClr val="black"/>
              <a:srgbClr val="FF540A"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4967947" y="1866293"/>
            <a:ext cx="913377" cy="663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88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89BA81-4E43-41EF-A45C-FD4BE48B55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Is GSLB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00A2D1-7DA8-46B1-B159-A39931ED0596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 sz="2400"/>
              <a:t>GSLB by definition is the act of load balancing across distributed servers / sites</a:t>
            </a:r>
          </a:p>
          <a:p>
            <a:r>
              <a:rPr lang="en-US" sz="2400"/>
              <a:t>GSLB works by modifying DNS records to point to the preferred service / site</a:t>
            </a:r>
          </a:p>
          <a:p>
            <a:r>
              <a:rPr lang="en-US" sz="2400"/>
              <a:t>Health checks are preformed to ensure service is available</a:t>
            </a:r>
          </a:p>
          <a:p>
            <a:r>
              <a:rPr lang="en-US" sz="2400"/>
              <a:t>During a failure the DNS record is updated to point to the secondary service / site</a:t>
            </a:r>
          </a:p>
          <a:p>
            <a:r>
              <a:rPr lang="en-US" sz="2400"/>
              <a:t>Uses very short DNS TTL (5-60 seconds) to force clients to request frequently</a:t>
            </a:r>
          </a:p>
        </p:txBody>
      </p:sp>
    </p:spTree>
    <p:extLst>
      <p:ext uri="{BB962C8B-B14F-4D97-AF65-F5344CB8AC3E}">
        <p14:creationId xmlns:p14="http://schemas.microsoft.com/office/powerpoint/2010/main" val="110256462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C9A126-F265-4B45-8ECA-2F0AE727F4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ffectLst/>
                <a:ea typeface="Calibri" panose="020F0502020204030204" pitchFamily="34" charset="0"/>
                <a:cs typeface="Calibri Light" panose="020F0302020204030204" pitchFamily="34" charset="0"/>
              </a:rPr>
              <a:t>Out of Band </a:t>
            </a:r>
            <a:r>
              <a:rPr lang="en-US">
                <a:ea typeface="Calibri" panose="020F0502020204030204" pitchFamily="34" charset="0"/>
                <a:cs typeface="Calibri Light" panose="020F0302020204030204" pitchFamily="34" charset="0"/>
              </a:rPr>
              <a:t>M</a:t>
            </a:r>
            <a:r>
              <a:rPr lang="en-US">
                <a:effectLst/>
                <a:ea typeface="Calibri" panose="020F0502020204030204" pitchFamily="34" charset="0"/>
                <a:cs typeface="Calibri Light" panose="020F0302020204030204" pitchFamily="34" charset="0"/>
              </a:rPr>
              <a:t>anagement</a:t>
            </a:r>
            <a:endParaRPr lang="en-US">
              <a:cs typeface="Calibri Light" panose="020F030202020403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251077-9BDF-4B0F-8273-2147DC88CDA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2400"/>
              <a:t>Management network connectivity using Cisco 1100 series terminal services gateway</a:t>
            </a:r>
          </a:p>
          <a:p>
            <a:r>
              <a:rPr lang="en-US" sz="2400"/>
              <a:t>Connects management interfaces and serial console access to equipment</a:t>
            </a:r>
          </a:p>
          <a:p>
            <a:r>
              <a:rPr lang="en-US" sz="2400"/>
              <a:t>Remote access via SysNet and LTE as a backup</a:t>
            </a:r>
          </a:p>
          <a:p>
            <a:r>
              <a:rPr lang="en-US" sz="2400"/>
              <a:t>Access to these devices will be heavily restricted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022055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D07ECC-D846-45FA-85A6-4B221EAB58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ere Are We Today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04A391-F2A1-454D-B7A0-017B75162D29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2400"/>
              <a:t>Waiting for server and network hardware (August - September)</a:t>
            </a:r>
          </a:p>
          <a:p>
            <a:r>
              <a:rPr lang="en-US" sz="2400"/>
              <a:t>Still working through details with CDW-G on DR / failover and SD-WAN design</a:t>
            </a:r>
          </a:p>
          <a:p>
            <a:r>
              <a:rPr lang="en-US" sz="2400"/>
              <a:t>Discussing setting up a simplified environment in UW La Crosse with existing hardware</a:t>
            </a:r>
          </a:p>
          <a:p>
            <a:r>
              <a:rPr lang="en-US" sz="2400"/>
              <a:t>Exploring training on NSX and SD-WAN components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42297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04A391-F2A1-454D-B7A0-017B75162D2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-1293" y="2369787"/>
            <a:ext cx="12192998" cy="860855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pPr marL="0" indent="0" algn="ctr">
              <a:buNone/>
            </a:pPr>
            <a:r>
              <a:rPr lang="en-US" sz="4800">
                <a:cs typeface="Calibri"/>
              </a:rPr>
              <a:t>Questions?</a:t>
            </a:r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12815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95C31D4-D91B-4CEC-A1B6-4278721851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3C328B-F647-44A8-9B0D-201C7FAEEDC9}"/>
              </a:ext>
            </a:extLst>
          </p:cNvPr>
          <p:cNvSpPr/>
          <p:nvPr/>
        </p:nvSpPr>
        <p:spPr>
          <a:xfrm>
            <a:off x="198722" y="5904653"/>
            <a:ext cx="11721135" cy="8889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146D6AD2-1540-440C-9987-8571FB3382C4}"/>
              </a:ext>
            </a:extLst>
          </p:cNvPr>
          <p:cNvSpPr/>
          <p:nvPr/>
        </p:nvSpPr>
        <p:spPr>
          <a:xfrm>
            <a:off x="6066604" y="5242753"/>
            <a:ext cx="6139543" cy="1478907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CBE05ECF-D48D-4912-B26E-242DE760B793}"/>
              </a:ext>
            </a:extLst>
          </p:cNvPr>
          <p:cNvSpPr/>
          <p:nvPr/>
        </p:nvSpPr>
        <p:spPr>
          <a:xfrm>
            <a:off x="6042282" y="3228035"/>
            <a:ext cx="6139543" cy="202596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1C43EB2-3F8B-4C28-B583-3AFFA8F5CEBE}"/>
              </a:ext>
            </a:extLst>
          </p:cNvPr>
          <p:cNvSpPr/>
          <p:nvPr/>
        </p:nvSpPr>
        <p:spPr>
          <a:xfrm>
            <a:off x="6052457" y="194199"/>
            <a:ext cx="6139543" cy="3035233"/>
          </a:xfrm>
          <a:prstGeom prst="rect">
            <a:avLst/>
          </a:prstGeom>
          <a:solidFill>
            <a:srgbClr val="C18D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3148DF19-7C83-492E-A666-8248678E03ED}"/>
              </a:ext>
            </a:extLst>
          </p:cNvPr>
          <p:cNvSpPr/>
          <p:nvPr/>
        </p:nvSpPr>
        <p:spPr>
          <a:xfrm>
            <a:off x="56506" y="205085"/>
            <a:ext cx="11991902" cy="6515384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2" name="Isosceles Triangle 81">
            <a:extLst>
              <a:ext uri="{FF2B5EF4-FFF2-40B4-BE49-F238E27FC236}">
                <a16:creationId xmlns:a16="http://schemas.microsoft.com/office/drawing/2014/main" id="{6955F444-920B-44A8-B51A-CF19E7E98783}"/>
              </a:ext>
            </a:extLst>
          </p:cNvPr>
          <p:cNvSpPr/>
          <p:nvPr/>
        </p:nvSpPr>
        <p:spPr>
          <a:xfrm>
            <a:off x="1406905" y="227370"/>
            <a:ext cx="9310256" cy="5030383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Rounded Rectangle 27"/>
          <p:cNvSpPr/>
          <p:nvPr/>
        </p:nvSpPr>
        <p:spPr bwMode="auto">
          <a:xfrm>
            <a:off x="2929626" y="6381407"/>
            <a:ext cx="3815818" cy="271151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7160" tIns="34290" rIns="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en-US" sz="10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Infrastructure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Services</a:t>
            </a:r>
            <a:r>
              <a:rPr lang="en-US" sz="10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 (VMWare Hosts, Storage, Backup)</a:t>
            </a:r>
          </a:p>
        </p:txBody>
      </p:sp>
      <p:sp>
        <p:nvSpPr>
          <p:cNvPr id="30" name="Rounded Rectangle 29"/>
          <p:cNvSpPr/>
          <p:nvPr/>
        </p:nvSpPr>
        <p:spPr bwMode="auto">
          <a:xfrm>
            <a:off x="4650294" y="4923214"/>
            <a:ext cx="3296583" cy="304793"/>
          </a:xfrm>
          <a:prstGeom prst="roundRect">
            <a:avLst/>
          </a:prstGeom>
          <a:solidFill>
            <a:srgbClr val="67829F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7160" tIns="34290" rIns="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ireless and Local Area Network (LAN) Services</a:t>
            </a:r>
          </a:p>
        </p:txBody>
      </p:sp>
      <p:sp>
        <p:nvSpPr>
          <p:cNvPr id="39" name="TextBox 64"/>
          <p:cNvSpPr txBox="1">
            <a:spLocks noChangeArrowheads="1"/>
          </p:cNvSpPr>
          <p:nvPr/>
        </p:nvSpPr>
        <p:spPr bwMode="auto">
          <a:xfrm>
            <a:off x="2861579" y="4058483"/>
            <a:ext cx="944169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rIns="0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re IT </a:t>
            </a:r>
            <a:b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rations</a:t>
            </a: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663EB385-04C0-475A-95B7-BA3C0254669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-24728"/>
            <a:ext cx="3298272" cy="716589"/>
          </a:xfrm>
          <a:prstGeom prst="rect">
            <a:avLst/>
          </a:prstGeom>
        </p:spPr>
      </p:pic>
      <p:sp>
        <p:nvSpPr>
          <p:cNvPr id="65" name="Rounded Rectangle 27">
            <a:extLst>
              <a:ext uri="{FF2B5EF4-FFF2-40B4-BE49-F238E27FC236}">
                <a16:creationId xmlns:a16="http://schemas.microsoft.com/office/drawing/2014/main" id="{A3E63970-842C-4113-86C1-E9C62E45554B}"/>
              </a:ext>
            </a:extLst>
          </p:cNvPr>
          <p:cNvSpPr/>
          <p:nvPr/>
        </p:nvSpPr>
        <p:spPr bwMode="auto">
          <a:xfrm>
            <a:off x="2929626" y="6035088"/>
            <a:ext cx="3815818" cy="271151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7160" tIns="34290" rIns="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mon Identity and Access Management Services</a:t>
            </a:r>
          </a:p>
        </p:txBody>
      </p:sp>
      <p:sp>
        <p:nvSpPr>
          <p:cNvPr id="66" name="Rounded Rectangle 27">
            <a:extLst>
              <a:ext uri="{FF2B5EF4-FFF2-40B4-BE49-F238E27FC236}">
                <a16:creationId xmlns:a16="http://schemas.microsoft.com/office/drawing/2014/main" id="{16535343-805D-4C91-A459-411F3878D801}"/>
              </a:ext>
            </a:extLst>
          </p:cNvPr>
          <p:cNvSpPr/>
          <p:nvPr/>
        </p:nvSpPr>
        <p:spPr bwMode="auto">
          <a:xfrm>
            <a:off x="2929626" y="5725487"/>
            <a:ext cx="3815818" cy="234428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7160" tIns="34290" rIns="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tegration Platform Services</a:t>
            </a:r>
          </a:p>
        </p:txBody>
      </p:sp>
      <p:sp>
        <p:nvSpPr>
          <p:cNvPr id="67" name="Rounded Rectangle 27">
            <a:extLst>
              <a:ext uri="{FF2B5EF4-FFF2-40B4-BE49-F238E27FC236}">
                <a16:creationId xmlns:a16="http://schemas.microsoft.com/office/drawing/2014/main" id="{7ED923C8-0072-4430-A6EC-6E66D46DE482}"/>
              </a:ext>
            </a:extLst>
          </p:cNvPr>
          <p:cNvSpPr/>
          <p:nvPr/>
        </p:nvSpPr>
        <p:spPr bwMode="auto">
          <a:xfrm>
            <a:off x="2929626" y="5378278"/>
            <a:ext cx="3815818" cy="253674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7160" tIns="34290" rIns="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terprise Application and Platform Services</a:t>
            </a:r>
          </a:p>
        </p:txBody>
      </p:sp>
      <p:sp>
        <p:nvSpPr>
          <p:cNvPr id="69" name="Rounded Rectangle 29">
            <a:extLst>
              <a:ext uri="{FF2B5EF4-FFF2-40B4-BE49-F238E27FC236}">
                <a16:creationId xmlns:a16="http://schemas.microsoft.com/office/drawing/2014/main" id="{3AA8B080-F8CC-4C92-A3B4-7BA2EE427ADB}"/>
              </a:ext>
            </a:extLst>
          </p:cNvPr>
          <p:cNvSpPr/>
          <p:nvPr/>
        </p:nvSpPr>
        <p:spPr bwMode="auto">
          <a:xfrm>
            <a:off x="4668656" y="4602671"/>
            <a:ext cx="3296590" cy="252070"/>
          </a:xfrm>
          <a:prstGeom prst="roundRect">
            <a:avLst/>
          </a:prstGeom>
          <a:solidFill>
            <a:srgbClr val="67829F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7160" tIns="34290" rIns="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curity Services </a:t>
            </a:r>
          </a:p>
        </p:txBody>
      </p:sp>
      <p:sp>
        <p:nvSpPr>
          <p:cNvPr id="70" name="Rounded Rectangle 29">
            <a:extLst>
              <a:ext uri="{FF2B5EF4-FFF2-40B4-BE49-F238E27FC236}">
                <a16:creationId xmlns:a16="http://schemas.microsoft.com/office/drawing/2014/main" id="{4174F4EF-F94B-47B2-81D6-39884270711A}"/>
              </a:ext>
            </a:extLst>
          </p:cNvPr>
          <p:cNvSpPr/>
          <p:nvPr/>
        </p:nvSpPr>
        <p:spPr bwMode="auto">
          <a:xfrm>
            <a:off x="4668655" y="4248355"/>
            <a:ext cx="3296589" cy="286847"/>
          </a:xfrm>
          <a:prstGeom prst="roundRect">
            <a:avLst/>
          </a:prstGeom>
          <a:solidFill>
            <a:srgbClr val="67829F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7160" tIns="34290" rIns="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rver and Database Administration Services</a:t>
            </a:r>
          </a:p>
        </p:txBody>
      </p:sp>
      <p:sp>
        <p:nvSpPr>
          <p:cNvPr id="71" name="Rounded Rectangle 29">
            <a:extLst>
              <a:ext uri="{FF2B5EF4-FFF2-40B4-BE49-F238E27FC236}">
                <a16:creationId xmlns:a16="http://schemas.microsoft.com/office/drawing/2014/main" id="{61049CA6-9D4F-443A-9944-2DD461400DA1}"/>
              </a:ext>
            </a:extLst>
          </p:cNvPr>
          <p:cNvSpPr/>
          <p:nvPr/>
        </p:nvSpPr>
        <p:spPr bwMode="auto">
          <a:xfrm>
            <a:off x="4668655" y="3927367"/>
            <a:ext cx="3296583" cy="252528"/>
          </a:xfrm>
          <a:prstGeom prst="roundRect">
            <a:avLst/>
          </a:prstGeom>
          <a:solidFill>
            <a:srgbClr val="67829F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7160" tIns="34290" rIns="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llaboration Services </a:t>
            </a:r>
          </a:p>
        </p:txBody>
      </p:sp>
      <p:sp>
        <p:nvSpPr>
          <p:cNvPr id="72" name="Rounded Rectangle 29">
            <a:extLst>
              <a:ext uri="{FF2B5EF4-FFF2-40B4-BE49-F238E27FC236}">
                <a16:creationId xmlns:a16="http://schemas.microsoft.com/office/drawing/2014/main" id="{C301640D-E444-46F6-9F3A-14C59EFF6ED1}"/>
              </a:ext>
            </a:extLst>
          </p:cNvPr>
          <p:cNvSpPr/>
          <p:nvPr/>
        </p:nvSpPr>
        <p:spPr bwMode="auto">
          <a:xfrm>
            <a:off x="4668655" y="3606379"/>
            <a:ext cx="3296583" cy="252528"/>
          </a:xfrm>
          <a:prstGeom prst="roundRect">
            <a:avLst/>
          </a:prstGeom>
          <a:solidFill>
            <a:srgbClr val="67829F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7160" tIns="34290" rIns="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d-User Compute Lifecycle Management </a:t>
            </a:r>
          </a:p>
        </p:txBody>
      </p:sp>
      <p:sp>
        <p:nvSpPr>
          <p:cNvPr id="44" name="TextBox 64">
            <a:extLst>
              <a:ext uri="{FF2B5EF4-FFF2-40B4-BE49-F238E27FC236}">
                <a16:creationId xmlns:a16="http://schemas.microsoft.com/office/drawing/2014/main" id="{7F4F19D8-896F-49CF-A538-57D1A1DEDD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0983" y="5476653"/>
            <a:ext cx="132889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rIns="0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ndational IT</a:t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CFB70BC2-77F8-49D0-B351-3330B4C59002}"/>
              </a:ext>
            </a:extLst>
          </p:cNvPr>
          <p:cNvCxnSpPr>
            <a:cxnSpLocks/>
          </p:cNvCxnSpPr>
          <p:nvPr/>
        </p:nvCxnSpPr>
        <p:spPr>
          <a:xfrm>
            <a:off x="4457129" y="3279481"/>
            <a:ext cx="0" cy="1948526"/>
          </a:xfrm>
          <a:prstGeom prst="line">
            <a:avLst/>
          </a:prstGeom>
          <a:ln w="571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365A69B1-9DDA-4AD2-A606-DB84233AC074}"/>
              </a:ext>
            </a:extLst>
          </p:cNvPr>
          <p:cNvCxnSpPr>
            <a:cxnSpLocks/>
          </p:cNvCxnSpPr>
          <p:nvPr/>
        </p:nvCxnSpPr>
        <p:spPr>
          <a:xfrm>
            <a:off x="2774749" y="5374473"/>
            <a:ext cx="0" cy="1278442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Isosceles Triangle 58">
            <a:extLst>
              <a:ext uri="{FF2B5EF4-FFF2-40B4-BE49-F238E27FC236}">
                <a16:creationId xmlns:a16="http://schemas.microsoft.com/office/drawing/2014/main" id="{37121B32-E882-473E-AEB0-20AC2B1E4ADA}"/>
              </a:ext>
            </a:extLst>
          </p:cNvPr>
          <p:cNvSpPr/>
          <p:nvPr/>
        </p:nvSpPr>
        <p:spPr>
          <a:xfrm>
            <a:off x="3263493" y="202622"/>
            <a:ext cx="5577929" cy="3022950"/>
          </a:xfrm>
          <a:prstGeom prst="triangle">
            <a:avLst/>
          </a:prstGeom>
          <a:solidFill>
            <a:srgbClr val="C18D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TextBox 64"/>
          <p:cNvSpPr txBox="1">
            <a:spLocks noChangeArrowheads="1"/>
          </p:cNvSpPr>
          <p:nvPr/>
        </p:nvSpPr>
        <p:spPr bwMode="auto">
          <a:xfrm>
            <a:off x="4967947" y="1320788"/>
            <a:ext cx="942566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rIns="0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ssion </a:t>
            </a:r>
            <a:b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cused IT</a:t>
            </a:r>
          </a:p>
        </p:txBody>
      </p:sp>
      <p:sp>
        <p:nvSpPr>
          <p:cNvPr id="73" name="Rounded Rectangle 29">
            <a:extLst>
              <a:ext uri="{FF2B5EF4-FFF2-40B4-BE49-F238E27FC236}">
                <a16:creationId xmlns:a16="http://schemas.microsoft.com/office/drawing/2014/main" id="{956E12D2-387C-4542-A1A1-C2E3C8C67958}"/>
              </a:ext>
            </a:extLst>
          </p:cNvPr>
          <p:cNvSpPr/>
          <p:nvPr/>
        </p:nvSpPr>
        <p:spPr bwMode="auto">
          <a:xfrm>
            <a:off x="4668655" y="3279481"/>
            <a:ext cx="3296591" cy="258614"/>
          </a:xfrm>
          <a:prstGeom prst="roundRect">
            <a:avLst/>
          </a:prstGeom>
          <a:solidFill>
            <a:srgbClr val="67829F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37160" tIns="34290" rIns="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T Service Desk Services</a:t>
            </a:r>
          </a:p>
        </p:txBody>
      </p:sp>
      <p:sp>
        <p:nvSpPr>
          <p:cNvPr id="74" name="Rounded Rectangle 35">
            <a:extLst>
              <a:ext uri="{FF2B5EF4-FFF2-40B4-BE49-F238E27FC236}">
                <a16:creationId xmlns:a16="http://schemas.microsoft.com/office/drawing/2014/main" id="{C1F61DB2-7068-420C-BBA2-FFAE3D37620E}"/>
              </a:ext>
            </a:extLst>
          </p:cNvPr>
          <p:cNvSpPr/>
          <p:nvPr/>
        </p:nvSpPr>
        <p:spPr bwMode="auto">
          <a:xfrm>
            <a:off x="6194402" y="2876820"/>
            <a:ext cx="3201408" cy="304745"/>
          </a:xfrm>
          <a:prstGeom prst="roundRect">
            <a:avLst/>
          </a:prstGeom>
          <a:solidFill>
            <a:srgbClr val="74082C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37160" tIns="34290" rIns="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orkplace Services</a:t>
            </a:r>
          </a:p>
        </p:txBody>
      </p:sp>
      <p:sp>
        <p:nvSpPr>
          <p:cNvPr id="75" name="Rounded Rectangle 35">
            <a:extLst>
              <a:ext uri="{FF2B5EF4-FFF2-40B4-BE49-F238E27FC236}">
                <a16:creationId xmlns:a16="http://schemas.microsoft.com/office/drawing/2014/main" id="{E58614F9-9837-4E1B-A7AB-52CB9BC0A7A5}"/>
              </a:ext>
            </a:extLst>
          </p:cNvPr>
          <p:cNvSpPr/>
          <p:nvPr/>
        </p:nvSpPr>
        <p:spPr bwMode="auto">
          <a:xfrm>
            <a:off x="6194402" y="2109951"/>
            <a:ext cx="3201408" cy="316513"/>
          </a:xfrm>
          <a:prstGeom prst="roundRect">
            <a:avLst/>
          </a:prstGeom>
          <a:solidFill>
            <a:srgbClr val="74082C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37160" tIns="34290" rIns="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ampus Operations Applications  </a:t>
            </a:r>
          </a:p>
        </p:txBody>
      </p:sp>
      <p:sp>
        <p:nvSpPr>
          <p:cNvPr id="76" name="Rounded Rectangle 35">
            <a:extLst>
              <a:ext uri="{FF2B5EF4-FFF2-40B4-BE49-F238E27FC236}">
                <a16:creationId xmlns:a16="http://schemas.microsoft.com/office/drawing/2014/main" id="{E993130D-5087-46C9-B5DC-6D87EC6C08C7}"/>
              </a:ext>
            </a:extLst>
          </p:cNvPr>
          <p:cNvSpPr/>
          <p:nvPr/>
        </p:nvSpPr>
        <p:spPr bwMode="auto">
          <a:xfrm>
            <a:off x="6194402" y="1748524"/>
            <a:ext cx="3201408" cy="294504"/>
          </a:xfrm>
          <a:prstGeom prst="roundRect">
            <a:avLst/>
          </a:prstGeom>
          <a:solidFill>
            <a:srgbClr val="74082C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37160" tIns="34290" rIns="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cademic Lifecycle and SIS Services</a:t>
            </a:r>
          </a:p>
        </p:txBody>
      </p:sp>
      <p:sp>
        <p:nvSpPr>
          <p:cNvPr id="77" name="Rounded Rectangle 35">
            <a:extLst>
              <a:ext uri="{FF2B5EF4-FFF2-40B4-BE49-F238E27FC236}">
                <a16:creationId xmlns:a16="http://schemas.microsoft.com/office/drawing/2014/main" id="{CB121216-A44F-4BA0-8798-92DF41606E67}"/>
              </a:ext>
            </a:extLst>
          </p:cNvPr>
          <p:cNvSpPr/>
          <p:nvPr/>
        </p:nvSpPr>
        <p:spPr bwMode="auto">
          <a:xfrm>
            <a:off x="6194402" y="1364271"/>
            <a:ext cx="3201408" cy="317330"/>
          </a:xfrm>
          <a:prstGeom prst="roundRect">
            <a:avLst/>
          </a:prstGeom>
          <a:solidFill>
            <a:srgbClr val="74082C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37160" tIns="34290" rIns="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cision Support Services</a:t>
            </a:r>
          </a:p>
        </p:txBody>
      </p:sp>
      <p:sp>
        <p:nvSpPr>
          <p:cNvPr id="78" name="Rounded Rectangle 35">
            <a:extLst>
              <a:ext uri="{FF2B5EF4-FFF2-40B4-BE49-F238E27FC236}">
                <a16:creationId xmlns:a16="http://schemas.microsoft.com/office/drawing/2014/main" id="{8CA82363-631B-46B8-98AF-D068BFC7D7EE}"/>
              </a:ext>
            </a:extLst>
          </p:cNvPr>
          <p:cNvSpPr/>
          <p:nvPr/>
        </p:nvSpPr>
        <p:spPr bwMode="auto">
          <a:xfrm>
            <a:off x="6194402" y="1010660"/>
            <a:ext cx="3201408" cy="286688"/>
          </a:xfrm>
          <a:prstGeom prst="roundRect">
            <a:avLst/>
          </a:prstGeom>
          <a:solidFill>
            <a:srgbClr val="74082C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37160" tIns="34290" rIns="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ustom Application Development Services</a:t>
            </a:r>
          </a:p>
        </p:txBody>
      </p:sp>
      <p:sp>
        <p:nvSpPr>
          <p:cNvPr id="79" name="Rounded Rectangle 35">
            <a:extLst>
              <a:ext uri="{FF2B5EF4-FFF2-40B4-BE49-F238E27FC236}">
                <a16:creationId xmlns:a16="http://schemas.microsoft.com/office/drawing/2014/main" id="{501B10BC-CC5F-4F2B-AD71-CE38AD6C0155}"/>
              </a:ext>
            </a:extLst>
          </p:cNvPr>
          <p:cNvSpPr/>
          <p:nvPr/>
        </p:nvSpPr>
        <p:spPr bwMode="auto">
          <a:xfrm>
            <a:off x="6194402" y="642677"/>
            <a:ext cx="3201408" cy="301060"/>
          </a:xfrm>
          <a:prstGeom prst="roundRect">
            <a:avLst/>
          </a:prstGeom>
          <a:solidFill>
            <a:srgbClr val="74082C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37160" tIns="34290" rIns="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aching and Learning Services</a:t>
            </a:r>
          </a:p>
        </p:txBody>
      </p:sp>
      <p:sp>
        <p:nvSpPr>
          <p:cNvPr id="80" name="Rounded Rectangle 35">
            <a:extLst>
              <a:ext uri="{FF2B5EF4-FFF2-40B4-BE49-F238E27FC236}">
                <a16:creationId xmlns:a16="http://schemas.microsoft.com/office/drawing/2014/main" id="{94575D49-37E5-4065-BFBF-3EDF756FC1CA}"/>
              </a:ext>
            </a:extLst>
          </p:cNvPr>
          <p:cNvSpPr/>
          <p:nvPr/>
        </p:nvSpPr>
        <p:spPr bwMode="auto">
          <a:xfrm>
            <a:off x="6194402" y="274693"/>
            <a:ext cx="3201408" cy="301061"/>
          </a:xfrm>
          <a:prstGeom prst="roundRect">
            <a:avLst/>
          </a:prstGeom>
          <a:solidFill>
            <a:srgbClr val="74082C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37160" tIns="34290" rIns="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cademic and Research Computing Services</a:t>
            </a:r>
          </a:p>
        </p:txBody>
      </p:sp>
      <p:sp>
        <p:nvSpPr>
          <p:cNvPr id="43" name="Rounded Rectangle 35">
            <a:extLst>
              <a:ext uri="{FF2B5EF4-FFF2-40B4-BE49-F238E27FC236}">
                <a16:creationId xmlns:a16="http://schemas.microsoft.com/office/drawing/2014/main" id="{CECBF4B4-8100-42D4-8085-4E3D68A09ABF}"/>
              </a:ext>
            </a:extLst>
          </p:cNvPr>
          <p:cNvSpPr/>
          <p:nvPr/>
        </p:nvSpPr>
        <p:spPr bwMode="auto">
          <a:xfrm>
            <a:off x="6194402" y="2493387"/>
            <a:ext cx="3201408" cy="316513"/>
          </a:xfrm>
          <a:prstGeom prst="roundRect">
            <a:avLst/>
          </a:prstGeom>
          <a:solidFill>
            <a:srgbClr val="74082C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37160" tIns="34290" rIns="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T Professional Services and Consulting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483BF9F-9288-4032-B2A5-7FE2462139D1}"/>
              </a:ext>
            </a:extLst>
          </p:cNvPr>
          <p:cNvCxnSpPr/>
          <p:nvPr/>
        </p:nvCxnSpPr>
        <p:spPr>
          <a:xfrm>
            <a:off x="6052457" y="224749"/>
            <a:ext cx="0" cy="2920721"/>
          </a:xfrm>
          <a:prstGeom prst="line">
            <a:avLst/>
          </a:prstGeom>
          <a:ln w="57150">
            <a:solidFill>
              <a:srgbClr val="7F2A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Freeform 423">
            <a:extLst>
              <a:ext uri="{FF2B5EF4-FFF2-40B4-BE49-F238E27FC236}">
                <a16:creationId xmlns:a16="http://schemas.microsoft.com/office/drawing/2014/main" id="{D47AC55F-7B2C-4FAD-A5C9-1C5F2BC9AECD}"/>
              </a:ext>
            </a:extLst>
          </p:cNvPr>
          <p:cNvSpPr>
            <a:spLocks noEditPoints="1"/>
          </p:cNvSpPr>
          <p:nvPr/>
        </p:nvSpPr>
        <p:spPr bwMode="black">
          <a:xfrm>
            <a:off x="3043944" y="4661076"/>
            <a:ext cx="579437" cy="404813"/>
          </a:xfrm>
          <a:custGeom>
            <a:avLst/>
            <a:gdLst>
              <a:gd name="T0" fmla="*/ 212 w 232"/>
              <a:gd name="T1" fmla="*/ 28 h 162"/>
              <a:gd name="T2" fmla="*/ 232 w 232"/>
              <a:gd name="T3" fmla="*/ 28 h 162"/>
              <a:gd name="T4" fmla="*/ 232 w 232"/>
              <a:gd name="T5" fmla="*/ 12 h 162"/>
              <a:gd name="T6" fmla="*/ 196 w 232"/>
              <a:gd name="T7" fmla="*/ 12 h 162"/>
              <a:gd name="T8" fmla="*/ 196 w 232"/>
              <a:gd name="T9" fmla="*/ 24 h 162"/>
              <a:gd name="T10" fmla="*/ 158 w 232"/>
              <a:gd name="T11" fmla="*/ 8 h 162"/>
              <a:gd name="T12" fmla="*/ 120 w 232"/>
              <a:gd name="T13" fmla="*/ 8 h 162"/>
              <a:gd name="T14" fmla="*/ 101 w 232"/>
              <a:gd name="T15" fmla="*/ 16 h 162"/>
              <a:gd name="T16" fmla="*/ 36 w 232"/>
              <a:gd name="T17" fmla="*/ 16 h 162"/>
              <a:gd name="T18" fmla="*/ 36 w 232"/>
              <a:gd name="T19" fmla="*/ 0 h 162"/>
              <a:gd name="T20" fmla="*/ 0 w 232"/>
              <a:gd name="T21" fmla="*/ 0 h 162"/>
              <a:gd name="T22" fmla="*/ 0 w 232"/>
              <a:gd name="T23" fmla="*/ 16 h 162"/>
              <a:gd name="T24" fmla="*/ 20 w 232"/>
              <a:gd name="T25" fmla="*/ 16 h 162"/>
              <a:gd name="T26" fmla="*/ 20 w 232"/>
              <a:gd name="T27" fmla="*/ 108 h 162"/>
              <a:gd name="T28" fmla="*/ 0 w 232"/>
              <a:gd name="T29" fmla="*/ 108 h 162"/>
              <a:gd name="T30" fmla="*/ 0 w 232"/>
              <a:gd name="T31" fmla="*/ 124 h 162"/>
              <a:gd name="T32" fmla="*/ 36 w 232"/>
              <a:gd name="T33" fmla="*/ 124 h 162"/>
              <a:gd name="T34" fmla="*/ 36 w 232"/>
              <a:gd name="T35" fmla="*/ 112 h 162"/>
              <a:gd name="T36" fmla="*/ 44 w 232"/>
              <a:gd name="T37" fmla="*/ 112 h 162"/>
              <a:gd name="T38" fmla="*/ 65 w 232"/>
              <a:gd name="T39" fmla="*/ 146 h 162"/>
              <a:gd name="T40" fmla="*/ 79 w 232"/>
              <a:gd name="T41" fmla="*/ 158 h 162"/>
              <a:gd name="T42" fmla="*/ 94 w 232"/>
              <a:gd name="T43" fmla="*/ 162 h 162"/>
              <a:gd name="T44" fmla="*/ 104 w 232"/>
              <a:gd name="T45" fmla="*/ 161 h 162"/>
              <a:gd name="T46" fmla="*/ 157 w 232"/>
              <a:gd name="T47" fmla="*/ 145 h 162"/>
              <a:gd name="T48" fmla="*/ 185 w 232"/>
              <a:gd name="T49" fmla="*/ 124 h 162"/>
              <a:gd name="T50" fmla="*/ 196 w 232"/>
              <a:gd name="T51" fmla="*/ 124 h 162"/>
              <a:gd name="T52" fmla="*/ 196 w 232"/>
              <a:gd name="T53" fmla="*/ 136 h 162"/>
              <a:gd name="T54" fmla="*/ 232 w 232"/>
              <a:gd name="T55" fmla="*/ 136 h 162"/>
              <a:gd name="T56" fmla="*/ 232 w 232"/>
              <a:gd name="T57" fmla="*/ 120 h 162"/>
              <a:gd name="T58" fmla="*/ 212 w 232"/>
              <a:gd name="T59" fmla="*/ 120 h 162"/>
              <a:gd name="T60" fmla="*/ 212 w 232"/>
              <a:gd name="T61" fmla="*/ 31 h 162"/>
              <a:gd name="T62" fmla="*/ 212 w 232"/>
              <a:gd name="T63" fmla="*/ 28 h 162"/>
              <a:gd name="T64" fmla="*/ 153 w 232"/>
              <a:gd name="T65" fmla="*/ 129 h 162"/>
              <a:gd name="T66" fmla="*/ 100 w 232"/>
              <a:gd name="T67" fmla="*/ 145 h 162"/>
              <a:gd name="T68" fmla="*/ 86 w 232"/>
              <a:gd name="T69" fmla="*/ 144 h 162"/>
              <a:gd name="T70" fmla="*/ 79 w 232"/>
              <a:gd name="T71" fmla="*/ 137 h 162"/>
              <a:gd name="T72" fmla="*/ 52 w 232"/>
              <a:gd name="T73" fmla="*/ 96 h 162"/>
              <a:gd name="T74" fmla="*/ 36 w 232"/>
              <a:gd name="T75" fmla="*/ 96 h 162"/>
              <a:gd name="T76" fmla="*/ 36 w 232"/>
              <a:gd name="T77" fmla="*/ 32 h 162"/>
              <a:gd name="T78" fmla="*/ 85 w 232"/>
              <a:gd name="T79" fmla="*/ 32 h 162"/>
              <a:gd name="T80" fmla="*/ 53 w 232"/>
              <a:gd name="T81" fmla="*/ 64 h 162"/>
              <a:gd name="T82" fmla="*/ 63 w 232"/>
              <a:gd name="T83" fmla="*/ 74 h 162"/>
              <a:gd name="T84" fmla="*/ 88 w 232"/>
              <a:gd name="T85" fmla="*/ 85 h 162"/>
              <a:gd name="T86" fmla="*/ 88 w 232"/>
              <a:gd name="T87" fmla="*/ 85 h 162"/>
              <a:gd name="T88" fmla="*/ 114 w 232"/>
              <a:gd name="T89" fmla="*/ 74 h 162"/>
              <a:gd name="T90" fmla="*/ 123 w 232"/>
              <a:gd name="T91" fmla="*/ 64 h 162"/>
              <a:gd name="T92" fmla="*/ 136 w 232"/>
              <a:gd name="T93" fmla="*/ 64 h 162"/>
              <a:gd name="T94" fmla="*/ 170 w 232"/>
              <a:gd name="T95" fmla="*/ 116 h 162"/>
              <a:gd name="T96" fmla="*/ 153 w 232"/>
              <a:gd name="T97" fmla="*/ 129 h 162"/>
              <a:gd name="T98" fmla="*/ 184 w 232"/>
              <a:gd name="T99" fmla="*/ 108 h 162"/>
              <a:gd name="T100" fmla="*/ 144 w 232"/>
              <a:gd name="T101" fmla="*/ 48 h 162"/>
              <a:gd name="T102" fmla="*/ 117 w 232"/>
              <a:gd name="T103" fmla="*/ 48 h 162"/>
              <a:gd name="T104" fmla="*/ 102 w 232"/>
              <a:gd name="T105" fmla="*/ 63 h 162"/>
              <a:gd name="T106" fmla="*/ 88 w 232"/>
              <a:gd name="T107" fmla="*/ 69 h 162"/>
              <a:gd name="T108" fmla="*/ 88 w 232"/>
              <a:gd name="T109" fmla="*/ 69 h 162"/>
              <a:gd name="T110" fmla="*/ 75 w 232"/>
              <a:gd name="T111" fmla="*/ 64 h 162"/>
              <a:gd name="T112" fmla="*/ 112 w 232"/>
              <a:gd name="T113" fmla="*/ 27 h 162"/>
              <a:gd name="T114" fmla="*/ 120 w 232"/>
              <a:gd name="T115" fmla="*/ 24 h 162"/>
              <a:gd name="T116" fmla="*/ 154 w 232"/>
              <a:gd name="T117" fmla="*/ 24 h 162"/>
              <a:gd name="T118" fmla="*/ 196 w 232"/>
              <a:gd name="T119" fmla="*/ 42 h 162"/>
              <a:gd name="T120" fmla="*/ 196 w 232"/>
              <a:gd name="T121" fmla="*/ 108 h 162"/>
              <a:gd name="T122" fmla="*/ 184 w 232"/>
              <a:gd name="T123" fmla="*/ 108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32" h="162">
                <a:moveTo>
                  <a:pt x="212" y="28"/>
                </a:moveTo>
                <a:cubicBezTo>
                  <a:pt x="232" y="28"/>
                  <a:pt x="232" y="28"/>
                  <a:pt x="232" y="28"/>
                </a:cubicBezTo>
                <a:cubicBezTo>
                  <a:pt x="232" y="12"/>
                  <a:pt x="232" y="12"/>
                  <a:pt x="232" y="12"/>
                </a:cubicBezTo>
                <a:cubicBezTo>
                  <a:pt x="196" y="12"/>
                  <a:pt x="196" y="12"/>
                  <a:pt x="196" y="12"/>
                </a:cubicBezTo>
                <a:cubicBezTo>
                  <a:pt x="196" y="24"/>
                  <a:pt x="196" y="24"/>
                  <a:pt x="196" y="24"/>
                </a:cubicBezTo>
                <a:cubicBezTo>
                  <a:pt x="158" y="8"/>
                  <a:pt x="158" y="8"/>
                  <a:pt x="158" y="8"/>
                </a:cubicBezTo>
                <a:cubicBezTo>
                  <a:pt x="120" y="8"/>
                  <a:pt x="120" y="8"/>
                  <a:pt x="120" y="8"/>
                </a:cubicBezTo>
                <a:cubicBezTo>
                  <a:pt x="113" y="8"/>
                  <a:pt x="106" y="11"/>
                  <a:pt x="101" y="16"/>
                </a:cubicBezTo>
                <a:cubicBezTo>
                  <a:pt x="36" y="16"/>
                  <a:pt x="36" y="16"/>
                  <a:pt x="36" y="16"/>
                </a:cubicBezTo>
                <a:cubicBezTo>
                  <a:pt x="36" y="0"/>
                  <a:pt x="36" y="0"/>
                  <a:pt x="36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"/>
                  <a:pt x="0" y="16"/>
                  <a:pt x="0" y="16"/>
                </a:cubicBezTo>
                <a:cubicBezTo>
                  <a:pt x="20" y="16"/>
                  <a:pt x="20" y="16"/>
                  <a:pt x="20" y="16"/>
                </a:cubicBezTo>
                <a:cubicBezTo>
                  <a:pt x="20" y="108"/>
                  <a:pt x="20" y="108"/>
                  <a:pt x="20" y="108"/>
                </a:cubicBezTo>
                <a:cubicBezTo>
                  <a:pt x="0" y="108"/>
                  <a:pt x="0" y="108"/>
                  <a:pt x="0" y="108"/>
                </a:cubicBezTo>
                <a:cubicBezTo>
                  <a:pt x="0" y="124"/>
                  <a:pt x="0" y="124"/>
                  <a:pt x="0" y="124"/>
                </a:cubicBezTo>
                <a:cubicBezTo>
                  <a:pt x="36" y="124"/>
                  <a:pt x="36" y="124"/>
                  <a:pt x="36" y="124"/>
                </a:cubicBezTo>
                <a:cubicBezTo>
                  <a:pt x="36" y="112"/>
                  <a:pt x="36" y="112"/>
                  <a:pt x="36" y="112"/>
                </a:cubicBezTo>
                <a:cubicBezTo>
                  <a:pt x="44" y="112"/>
                  <a:pt x="44" y="112"/>
                  <a:pt x="44" y="112"/>
                </a:cubicBezTo>
                <a:cubicBezTo>
                  <a:pt x="65" y="146"/>
                  <a:pt x="65" y="146"/>
                  <a:pt x="65" y="146"/>
                </a:cubicBezTo>
                <a:cubicBezTo>
                  <a:pt x="69" y="151"/>
                  <a:pt x="73" y="156"/>
                  <a:pt x="79" y="158"/>
                </a:cubicBezTo>
                <a:cubicBezTo>
                  <a:pt x="84" y="161"/>
                  <a:pt x="89" y="162"/>
                  <a:pt x="94" y="162"/>
                </a:cubicBezTo>
                <a:cubicBezTo>
                  <a:pt x="98" y="162"/>
                  <a:pt x="101" y="162"/>
                  <a:pt x="104" y="161"/>
                </a:cubicBezTo>
                <a:cubicBezTo>
                  <a:pt x="157" y="145"/>
                  <a:pt x="157" y="145"/>
                  <a:pt x="157" y="145"/>
                </a:cubicBezTo>
                <a:cubicBezTo>
                  <a:pt x="168" y="141"/>
                  <a:pt x="178" y="134"/>
                  <a:pt x="185" y="124"/>
                </a:cubicBezTo>
                <a:cubicBezTo>
                  <a:pt x="196" y="124"/>
                  <a:pt x="196" y="124"/>
                  <a:pt x="196" y="124"/>
                </a:cubicBezTo>
                <a:cubicBezTo>
                  <a:pt x="196" y="136"/>
                  <a:pt x="196" y="136"/>
                  <a:pt x="196" y="136"/>
                </a:cubicBezTo>
                <a:cubicBezTo>
                  <a:pt x="232" y="136"/>
                  <a:pt x="232" y="136"/>
                  <a:pt x="232" y="136"/>
                </a:cubicBezTo>
                <a:cubicBezTo>
                  <a:pt x="232" y="120"/>
                  <a:pt x="232" y="120"/>
                  <a:pt x="232" y="120"/>
                </a:cubicBezTo>
                <a:cubicBezTo>
                  <a:pt x="212" y="120"/>
                  <a:pt x="212" y="120"/>
                  <a:pt x="212" y="120"/>
                </a:cubicBezTo>
                <a:cubicBezTo>
                  <a:pt x="212" y="31"/>
                  <a:pt x="212" y="31"/>
                  <a:pt x="212" y="31"/>
                </a:cubicBezTo>
                <a:lnTo>
                  <a:pt x="212" y="28"/>
                </a:lnTo>
                <a:close/>
                <a:moveTo>
                  <a:pt x="153" y="129"/>
                </a:moveTo>
                <a:cubicBezTo>
                  <a:pt x="100" y="145"/>
                  <a:pt x="100" y="145"/>
                  <a:pt x="100" y="145"/>
                </a:cubicBezTo>
                <a:cubicBezTo>
                  <a:pt x="95" y="147"/>
                  <a:pt x="90" y="146"/>
                  <a:pt x="86" y="144"/>
                </a:cubicBezTo>
                <a:cubicBezTo>
                  <a:pt x="83" y="143"/>
                  <a:pt x="81" y="140"/>
                  <a:pt x="79" y="137"/>
                </a:cubicBezTo>
                <a:cubicBezTo>
                  <a:pt x="52" y="96"/>
                  <a:pt x="52" y="96"/>
                  <a:pt x="52" y="96"/>
                </a:cubicBezTo>
                <a:cubicBezTo>
                  <a:pt x="36" y="96"/>
                  <a:pt x="36" y="96"/>
                  <a:pt x="36" y="96"/>
                </a:cubicBezTo>
                <a:cubicBezTo>
                  <a:pt x="36" y="32"/>
                  <a:pt x="36" y="32"/>
                  <a:pt x="36" y="32"/>
                </a:cubicBezTo>
                <a:cubicBezTo>
                  <a:pt x="85" y="32"/>
                  <a:pt x="85" y="32"/>
                  <a:pt x="85" y="32"/>
                </a:cubicBezTo>
                <a:cubicBezTo>
                  <a:pt x="53" y="64"/>
                  <a:pt x="53" y="64"/>
                  <a:pt x="53" y="64"/>
                </a:cubicBezTo>
                <a:cubicBezTo>
                  <a:pt x="63" y="74"/>
                  <a:pt x="63" y="74"/>
                  <a:pt x="63" y="74"/>
                </a:cubicBezTo>
                <a:cubicBezTo>
                  <a:pt x="69" y="81"/>
                  <a:pt x="78" y="85"/>
                  <a:pt x="88" y="85"/>
                </a:cubicBezTo>
                <a:cubicBezTo>
                  <a:pt x="88" y="85"/>
                  <a:pt x="88" y="85"/>
                  <a:pt x="88" y="85"/>
                </a:cubicBezTo>
                <a:cubicBezTo>
                  <a:pt x="98" y="85"/>
                  <a:pt x="107" y="81"/>
                  <a:pt x="114" y="74"/>
                </a:cubicBezTo>
                <a:cubicBezTo>
                  <a:pt x="123" y="64"/>
                  <a:pt x="123" y="64"/>
                  <a:pt x="123" y="64"/>
                </a:cubicBezTo>
                <a:cubicBezTo>
                  <a:pt x="136" y="64"/>
                  <a:pt x="136" y="64"/>
                  <a:pt x="136" y="64"/>
                </a:cubicBezTo>
                <a:cubicBezTo>
                  <a:pt x="170" y="116"/>
                  <a:pt x="170" y="116"/>
                  <a:pt x="170" y="116"/>
                </a:cubicBezTo>
                <a:cubicBezTo>
                  <a:pt x="166" y="123"/>
                  <a:pt x="160" y="127"/>
                  <a:pt x="153" y="129"/>
                </a:cubicBezTo>
                <a:moveTo>
                  <a:pt x="184" y="108"/>
                </a:moveTo>
                <a:cubicBezTo>
                  <a:pt x="144" y="48"/>
                  <a:pt x="144" y="48"/>
                  <a:pt x="144" y="48"/>
                </a:cubicBezTo>
                <a:cubicBezTo>
                  <a:pt x="117" y="48"/>
                  <a:pt x="117" y="48"/>
                  <a:pt x="117" y="48"/>
                </a:cubicBezTo>
                <a:cubicBezTo>
                  <a:pt x="102" y="63"/>
                  <a:pt x="102" y="63"/>
                  <a:pt x="102" y="63"/>
                </a:cubicBezTo>
                <a:cubicBezTo>
                  <a:pt x="98" y="67"/>
                  <a:pt x="93" y="69"/>
                  <a:pt x="88" y="69"/>
                </a:cubicBezTo>
                <a:cubicBezTo>
                  <a:pt x="88" y="69"/>
                  <a:pt x="88" y="69"/>
                  <a:pt x="88" y="69"/>
                </a:cubicBezTo>
                <a:cubicBezTo>
                  <a:pt x="83" y="69"/>
                  <a:pt x="79" y="67"/>
                  <a:pt x="75" y="64"/>
                </a:cubicBezTo>
                <a:cubicBezTo>
                  <a:pt x="112" y="27"/>
                  <a:pt x="112" y="27"/>
                  <a:pt x="112" y="27"/>
                </a:cubicBezTo>
                <a:cubicBezTo>
                  <a:pt x="114" y="25"/>
                  <a:pt x="117" y="24"/>
                  <a:pt x="120" y="24"/>
                </a:cubicBezTo>
                <a:cubicBezTo>
                  <a:pt x="154" y="24"/>
                  <a:pt x="154" y="24"/>
                  <a:pt x="154" y="24"/>
                </a:cubicBezTo>
                <a:cubicBezTo>
                  <a:pt x="196" y="42"/>
                  <a:pt x="196" y="42"/>
                  <a:pt x="196" y="42"/>
                </a:cubicBezTo>
                <a:cubicBezTo>
                  <a:pt x="196" y="108"/>
                  <a:pt x="196" y="108"/>
                  <a:pt x="196" y="108"/>
                </a:cubicBezTo>
                <a:lnTo>
                  <a:pt x="184" y="10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9" name="Picture 98">
            <a:extLst>
              <a:ext uri="{FF2B5EF4-FFF2-40B4-BE49-F238E27FC236}">
                <a16:creationId xmlns:a16="http://schemas.microsoft.com/office/drawing/2014/main" id="{568ABEB7-0B65-4DC5-860A-ED645198B84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GlowEdges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482713" y="5681705"/>
            <a:ext cx="842522" cy="842522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BAF7FB1-0377-48C0-A3E3-5B808CCE273E}"/>
              </a:ext>
            </a:extLst>
          </p:cNvPr>
          <p:cNvCxnSpPr>
            <a:stCxn id="6" idx="2"/>
            <a:endCxn id="59" idx="0"/>
          </p:cNvCxnSpPr>
          <p:nvPr/>
        </p:nvCxnSpPr>
        <p:spPr>
          <a:xfrm flipV="1">
            <a:off x="56506" y="202622"/>
            <a:ext cx="5995952" cy="6517847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CD9574E1-E2F1-4723-958D-B3784756C258}"/>
              </a:ext>
            </a:extLst>
          </p:cNvPr>
          <p:cNvSpPr txBox="1"/>
          <p:nvPr/>
        </p:nvSpPr>
        <p:spPr>
          <a:xfrm>
            <a:off x="10008904" y="1487267"/>
            <a:ext cx="170040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ocal Campus IT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F1F2B20E-B726-453D-AFE6-A340A292A79D}"/>
              </a:ext>
            </a:extLst>
          </p:cNvPr>
          <p:cNvSpPr txBox="1"/>
          <p:nvPr/>
        </p:nvSpPr>
        <p:spPr>
          <a:xfrm>
            <a:off x="9173319" y="4116642"/>
            <a:ext cx="253598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nified Team at UWSA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B52D1278-8485-48B1-A416-2C933E9EFD13}"/>
              </a:ext>
            </a:extLst>
          </p:cNvPr>
          <p:cNvSpPr txBox="1"/>
          <p:nvPr/>
        </p:nvSpPr>
        <p:spPr>
          <a:xfrm>
            <a:off x="7948166" y="5843337"/>
            <a:ext cx="376114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W-Madison Partnered Services</a:t>
            </a:r>
          </a:p>
        </p:txBody>
      </p:sp>
      <p:sp>
        <p:nvSpPr>
          <p:cNvPr id="46" name="Title 1">
            <a:extLst>
              <a:ext uri="{FF2B5EF4-FFF2-40B4-BE49-F238E27FC236}">
                <a16:creationId xmlns:a16="http://schemas.microsoft.com/office/drawing/2014/main" id="{9462F4A2-728A-46D5-B8EE-258D2D01A91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0" y="691861"/>
            <a:ext cx="3411794" cy="628927"/>
          </a:xfrm>
          <a:solidFill>
            <a:schemeClr val="bg1"/>
          </a:solidFill>
        </p:spPr>
        <p:txBody>
          <a:bodyPr>
            <a:noAutofit/>
          </a:bodyPr>
          <a:lstStyle/>
          <a:p>
            <a:pPr lvl="0" algn="l">
              <a:spcAft>
                <a:spcPts val="1200"/>
              </a:spcAft>
              <a:defRPr/>
            </a:pPr>
            <a:r>
              <a:rPr lang="en-US" sz="2000">
                <a:solidFill>
                  <a:srgbClr val="74082C"/>
                </a:solidFill>
                <a:latin typeface="Arial Black"/>
              </a:rPr>
              <a:t>ITaaS Service Portfolio</a:t>
            </a:r>
            <a:endParaRPr lang="en-US" sz="2000" strike="sngStrike">
              <a:solidFill>
                <a:srgbClr val="FF0000"/>
              </a:solidFill>
              <a:latin typeface="Arial Black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0E65B51A-97E1-4265-A1EF-39AA2147DFFD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prstClr val="black"/>
              <a:srgbClr val="FF540A"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4967947" y="1866293"/>
            <a:ext cx="913377" cy="663721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D931A94-CF9D-6E43-A1CD-4D63C8279D9F}"/>
              </a:ext>
            </a:extLst>
          </p:cNvPr>
          <p:cNvCxnSpPr>
            <a:cxnSpLocks/>
          </p:cNvCxnSpPr>
          <p:nvPr/>
        </p:nvCxnSpPr>
        <p:spPr>
          <a:xfrm flipV="1">
            <a:off x="470865" y="3881209"/>
            <a:ext cx="7613769" cy="12304"/>
          </a:xfrm>
          <a:prstGeom prst="line">
            <a:avLst/>
          </a:prstGeom>
          <a:ln w="412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3F7E77D8-7B40-0F42-B7D0-CF97C4F12576}"/>
              </a:ext>
            </a:extLst>
          </p:cNvPr>
          <p:cNvCxnSpPr>
            <a:cxnSpLocks/>
          </p:cNvCxnSpPr>
          <p:nvPr/>
        </p:nvCxnSpPr>
        <p:spPr>
          <a:xfrm flipV="1">
            <a:off x="1230807" y="3231614"/>
            <a:ext cx="6853827" cy="26761"/>
          </a:xfrm>
          <a:prstGeom prst="line">
            <a:avLst/>
          </a:prstGeom>
          <a:ln w="412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07BF00D6-5860-1D41-AF35-C5C861920629}"/>
              </a:ext>
            </a:extLst>
          </p:cNvPr>
          <p:cNvSpPr txBox="1"/>
          <p:nvPr/>
        </p:nvSpPr>
        <p:spPr>
          <a:xfrm>
            <a:off x="645358" y="3902227"/>
            <a:ext cx="11708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itial Focus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C2CB662-0F6E-D84E-9677-29E2B5F2E22C}"/>
              </a:ext>
            </a:extLst>
          </p:cNvPr>
          <p:cNvSpPr txBox="1"/>
          <p:nvPr/>
        </p:nvSpPr>
        <p:spPr>
          <a:xfrm>
            <a:off x="1501985" y="3242191"/>
            <a:ext cx="143622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uture Options</a:t>
            </a:r>
          </a:p>
        </p:txBody>
      </p:sp>
      <p:sp>
        <p:nvSpPr>
          <p:cNvPr id="16" name="Chevron 15">
            <a:extLst>
              <a:ext uri="{FF2B5EF4-FFF2-40B4-BE49-F238E27FC236}">
                <a16:creationId xmlns:a16="http://schemas.microsoft.com/office/drawing/2014/main" id="{1B84AAE1-E8BF-0141-9860-9381AD621C59}"/>
              </a:ext>
            </a:extLst>
          </p:cNvPr>
          <p:cNvSpPr/>
          <p:nvPr/>
        </p:nvSpPr>
        <p:spPr>
          <a:xfrm rot="5400000">
            <a:off x="1348087" y="3323969"/>
            <a:ext cx="131115" cy="230547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Chevron 53">
            <a:extLst>
              <a:ext uri="{FF2B5EF4-FFF2-40B4-BE49-F238E27FC236}">
                <a16:creationId xmlns:a16="http://schemas.microsoft.com/office/drawing/2014/main" id="{CA28416C-0421-8545-B8B2-3D2043843883}"/>
              </a:ext>
            </a:extLst>
          </p:cNvPr>
          <p:cNvSpPr/>
          <p:nvPr/>
        </p:nvSpPr>
        <p:spPr>
          <a:xfrm rot="5400000">
            <a:off x="508997" y="3958569"/>
            <a:ext cx="131115" cy="230547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1757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9">
            <a:extLst>
              <a:ext uri="{FF2B5EF4-FFF2-40B4-BE49-F238E27FC236}">
                <a16:creationId xmlns:a16="http://schemas.microsoft.com/office/drawing/2014/main" id="{3A5B4632-C963-4296-86F0-79AA9EA5AE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8328" y="303591"/>
            <a:ext cx="4335327" cy="589674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27000" cap="sq" cmpd="thinThick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269C3E-2050-3041-86E2-8CB51315BE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" y="637125"/>
            <a:ext cx="3802276" cy="5256371"/>
          </a:xfrm>
          <a:noFill/>
        </p:spPr>
        <p:txBody>
          <a:bodyPr>
            <a:normAutofit/>
          </a:bodyPr>
          <a:lstStyle/>
          <a:p>
            <a:r>
              <a:rPr lang="en-US" sz="4800" err="1"/>
              <a:t>ITaaS</a:t>
            </a:r>
            <a:r>
              <a:rPr lang="en-US" sz="4800"/>
              <a:t> Guiding Princip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F13F893-833D-1046-A409-68CF530BED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36B2801F-AB2E-47A4-A198-B654C0E81C2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27" name="Content Placeholder 2">
            <a:extLst>
              <a:ext uri="{FF2B5EF4-FFF2-40B4-BE49-F238E27FC236}">
                <a16:creationId xmlns:a16="http://schemas.microsoft.com/office/drawing/2014/main" id="{6167D809-353A-4179-A269-D4E3845F3019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166985" y="303591"/>
          <a:ext cx="6588691" cy="58967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65217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8AE4C794-A1E9-6C41-96C1-0BD3955CA8C1}"/>
              </a:ext>
            </a:extLst>
          </p:cNvPr>
          <p:cNvSpPr/>
          <p:nvPr/>
        </p:nvSpPr>
        <p:spPr>
          <a:xfrm>
            <a:off x="4630132" y="1418224"/>
            <a:ext cx="7321542" cy="5074649"/>
          </a:xfrm>
          <a:prstGeom prst="rect">
            <a:avLst/>
          </a:prstGeom>
          <a:noFill/>
          <a:ln>
            <a:solidFill>
              <a:schemeClr val="accent4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0208293-88CB-FE41-8B0F-D1E328DAED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T as a Service - SLA Structu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C5E5E5-42D6-3241-A00C-E6246156B8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B2801F-AB2E-47A4-A198-B654C0E81C2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E1A0561-5A4A-F34D-B65C-6C04704CB830}"/>
              </a:ext>
            </a:extLst>
          </p:cNvPr>
          <p:cNvSpPr/>
          <p:nvPr/>
        </p:nvSpPr>
        <p:spPr>
          <a:xfrm>
            <a:off x="461913" y="1451727"/>
            <a:ext cx="3780149" cy="504114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TaaS</a:t>
            </a:r>
            <a:r>
              <a:rPr kumimoji="0" lang="en-US" sz="1600" b="0" i="0" u="sng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L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stablishes the high-level relationship between the </a:t>
            </a: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vide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UWSA) and the </a:t>
            </a: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ustomer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campus).  Creates a standard service methodology across all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Taa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ervices.  Topics covered include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bscribed Servic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ustomer-specific Pricing and Bill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rvice Management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cident Management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rvice Request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ioritization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rvice Support Metric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rvice Uptime and Availability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rvice Roadmap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ange Management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lationship Management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scal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countability of Ac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rvice Performan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rms of Agree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rvice Exit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45AB1CA8-EDD2-5A4D-A5B7-53ECE6319589}"/>
              </a:ext>
            </a:extLst>
          </p:cNvPr>
          <p:cNvSpPr/>
          <p:nvPr/>
        </p:nvSpPr>
        <p:spPr>
          <a:xfrm>
            <a:off x="4807670" y="1618363"/>
            <a:ext cx="4006392" cy="593889"/>
          </a:xfrm>
          <a:prstGeom prst="roundRect">
            <a:avLst/>
          </a:prstGeom>
          <a:solidFill>
            <a:srgbClr val="668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ppendix 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ystems &amp; Engineering as a Service (SaaS)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F5DEF3A2-513B-674C-8C13-77195D1BD260}"/>
              </a:ext>
            </a:extLst>
          </p:cNvPr>
          <p:cNvSpPr/>
          <p:nvPr/>
        </p:nvSpPr>
        <p:spPr>
          <a:xfrm>
            <a:off x="4807670" y="2394139"/>
            <a:ext cx="4006392" cy="593889"/>
          </a:xfrm>
          <a:prstGeom prst="roundRect">
            <a:avLst/>
          </a:prstGeom>
          <a:solidFill>
            <a:srgbClr val="668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ppendix 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opleSoft as a Service (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SaaS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C20B9E36-EB30-5C49-9B21-AE2D9E84053B}"/>
              </a:ext>
            </a:extLst>
          </p:cNvPr>
          <p:cNvSpPr/>
          <p:nvPr/>
        </p:nvSpPr>
        <p:spPr>
          <a:xfrm>
            <a:off x="4807670" y="3169915"/>
            <a:ext cx="4006392" cy="593889"/>
          </a:xfrm>
          <a:prstGeom prst="roundRect">
            <a:avLst/>
          </a:prstGeom>
          <a:solidFill>
            <a:srgbClr val="668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ppendix 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cident Response as a Service (IR)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3FF9464-512A-2440-8A2E-D1AE619A28F9}"/>
              </a:ext>
            </a:extLst>
          </p:cNvPr>
          <p:cNvSpPr/>
          <p:nvPr/>
        </p:nvSpPr>
        <p:spPr>
          <a:xfrm>
            <a:off x="4807670" y="3945691"/>
            <a:ext cx="4006392" cy="593889"/>
          </a:xfrm>
          <a:prstGeom prst="roundRect">
            <a:avLst/>
          </a:prstGeom>
          <a:solidFill>
            <a:srgbClr val="668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ppendix 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nitoring, Detection and Response (MDR)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04DB547C-6F25-D048-873C-8E749DF8957A}"/>
              </a:ext>
            </a:extLst>
          </p:cNvPr>
          <p:cNvSpPr/>
          <p:nvPr/>
        </p:nvSpPr>
        <p:spPr>
          <a:xfrm>
            <a:off x="4807670" y="4721467"/>
            <a:ext cx="4006392" cy="593889"/>
          </a:xfrm>
          <a:prstGeom prst="roundRect">
            <a:avLst/>
          </a:prstGeom>
          <a:solidFill>
            <a:srgbClr val="668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ppendix 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opleSoft Development as a Service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7EDE0604-7AF5-B241-8AC2-C273B6F4B301}"/>
              </a:ext>
            </a:extLst>
          </p:cNvPr>
          <p:cNvSpPr/>
          <p:nvPr/>
        </p:nvSpPr>
        <p:spPr>
          <a:xfrm>
            <a:off x="4807670" y="5497244"/>
            <a:ext cx="4006392" cy="593889"/>
          </a:xfrm>
          <a:prstGeom prst="roundRect">
            <a:avLst/>
          </a:prstGeom>
          <a:solidFill>
            <a:srgbClr val="668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ppendix F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TSM Platform as a Service</a:t>
            </a:r>
          </a:p>
        </p:txBody>
      </p:sp>
      <p:cxnSp>
        <p:nvCxnSpPr>
          <p:cNvPr id="13" name="Elbow Connector 12">
            <a:extLst>
              <a:ext uri="{FF2B5EF4-FFF2-40B4-BE49-F238E27FC236}">
                <a16:creationId xmlns:a16="http://schemas.microsoft.com/office/drawing/2014/main" id="{B9005862-EC83-5242-AE7B-5D81499B901D}"/>
              </a:ext>
            </a:extLst>
          </p:cNvPr>
          <p:cNvCxnSpPr>
            <a:cxnSpLocks/>
            <a:stCxn id="5" idx="3"/>
            <a:endCxn id="6" idx="1"/>
          </p:cNvCxnSpPr>
          <p:nvPr/>
        </p:nvCxnSpPr>
        <p:spPr>
          <a:xfrm flipV="1">
            <a:off x="4242062" y="1915308"/>
            <a:ext cx="565608" cy="2056993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Elbow Connector 13">
            <a:extLst>
              <a:ext uri="{FF2B5EF4-FFF2-40B4-BE49-F238E27FC236}">
                <a16:creationId xmlns:a16="http://schemas.microsoft.com/office/drawing/2014/main" id="{C2F8BB18-2255-7E44-B982-9506F1DA3D72}"/>
              </a:ext>
            </a:extLst>
          </p:cNvPr>
          <p:cNvCxnSpPr>
            <a:cxnSpLocks/>
            <a:stCxn id="5" idx="3"/>
            <a:endCxn id="7" idx="1"/>
          </p:cNvCxnSpPr>
          <p:nvPr/>
        </p:nvCxnSpPr>
        <p:spPr>
          <a:xfrm flipV="1">
            <a:off x="4242062" y="2691084"/>
            <a:ext cx="565608" cy="1281217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Elbow Connector 16">
            <a:extLst>
              <a:ext uri="{FF2B5EF4-FFF2-40B4-BE49-F238E27FC236}">
                <a16:creationId xmlns:a16="http://schemas.microsoft.com/office/drawing/2014/main" id="{38D7C98B-FA17-8644-8016-128BCD39AD21}"/>
              </a:ext>
            </a:extLst>
          </p:cNvPr>
          <p:cNvCxnSpPr>
            <a:cxnSpLocks/>
            <a:stCxn id="5" idx="3"/>
            <a:endCxn id="8" idx="1"/>
          </p:cNvCxnSpPr>
          <p:nvPr/>
        </p:nvCxnSpPr>
        <p:spPr>
          <a:xfrm flipV="1">
            <a:off x="4242062" y="3466860"/>
            <a:ext cx="565608" cy="505441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Elbow Connector 19">
            <a:extLst>
              <a:ext uri="{FF2B5EF4-FFF2-40B4-BE49-F238E27FC236}">
                <a16:creationId xmlns:a16="http://schemas.microsoft.com/office/drawing/2014/main" id="{7BEB3383-13A3-6240-8631-B1818D139F62}"/>
              </a:ext>
            </a:extLst>
          </p:cNvPr>
          <p:cNvCxnSpPr>
            <a:cxnSpLocks/>
            <a:stCxn id="5" idx="3"/>
            <a:endCxn id="9" idx="1"/>
          </p:cNvCxnSpPr>
          <p:nvPr/>
        </p:nvCxnSpPr>
        <p:spPr>
          <a:xfrm>
            <a:off x="4242062" y="3972301"/>
            <a:ext cx="565608" cy="27033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Elbow Connector 22">
            <a:extLst>
              <a:ext uri="{FF2B5EF4-FFF2-40B4-BE49-F238E27FC236}">
                <a16:creationId xmlns:a16="http://schemas.microsoft.com/office/drawing/2014/main" id="{2EDD4913-A95A-D34B-9F71-B40A3CF4F949}"/>
              </a:ext>
            </a:extLst>
          </p:cNvPr>
          <p:cNvCxnSpPr>
            <a:cxnSpLocks/>
            <a:stCxn id="5" idx="3"/>
            <a:endCxn id="10" idx="1"/>
          </p:cNvCxnSpPr>
          <p:nvPr/>
        </p:nvCxnSpPr>
        <p:spPr>
          <a:xfrm>
            <a:off x="4242062" y="3972301"/>
            <a:ext cx="565608" cy="1046111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>
            <a:extLst>
              <a:ext uri="{FF2B5EF4-FFF2-40B4-BE49-F238E27FC236}">
                <a16:creationId xmlns:a16="http://schemas.microsoft.com/office/drawing/2014/main" id="{4F844F80-7109-3845-957D-6EB3A751DAE4}"/>
              </a:ext>
            </a:extLst>
          </p:cNvPr>
          <p:cNvCxnSpPr>
            <a:cxnSpLocks/>
            <a:stCxn id="5" idx="3"/>
            <a:endCxn id="11" idx="1"/>
          </p:cNvCxnSpPr>
          <p:nvPr/>
        </p:nvCxnSpPr>
        <p:spPr>
          <a:xfrm>
            <a:off x="4242062" y="3972301"/>
            <a:ext cx="565608" cy="1821888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D51ADABD-77B8-4348-87C2-249130E75BAB}"/>
              </a:ext>
            </a:extLst>
          </p:cNvPr>
          <p:cNvSpPr txBox="1"/>
          <p:nvPr/>
        </p:nvSpPr>
        <p:spPr>
          <a:xfrm>
            <a:off x="9078012" y="1545996"/>
            <a:ext cx="2652075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ppendic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sng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ach service covered in the SLA has its own service definition attached as an appendix to the main agreement.  Each appendix covers the following topic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rvice Descrip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’s Includ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neral Pricing and Bill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lated Servic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rvice Level Targe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rvice Not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oles and Responsibilities</a:t>
            </a:r>
          </a:p>
        </p:txBody>
      </p:sp>
    </p:spTree>
    <p:extLst>
      <p:ext uri="{BB962C8B-B14F-4D97-AF65-F5344CB8AC3E}">
        <p14:creationId xmlns:p14="http://schemas.microsoft.com/office/powerpoint/2010/main" val="3111947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3D90D4-C322-E0B6-463E-4FBA9F724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ervice Offerings, Status, and Particip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9E2B0A-6651-3F3B-BD86-6E29BC6EAD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B2801F-AB2E-47A4-A198-B654C0E81C2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5" name="Content Placeholder 14">
            <a:extLst>
              <a:ext uri="{FF2B5EF4-FFF2-40B4-BE49-F238E27FC236}">
                <a16:creationId xmlns:a16="http://schemas.microsoft.com/office/drawing/2014/main" id="{B99E31D1-0D84-BC25-1B97-5488D1E04E6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98474481"/>
              </p:ext>
            </p:extLst>
          </p:nvPr>
        </p:nvGraphicFramePr>
        <p:xfrm>
          <a:off x="523875" y="1549387"/>
          <a:ext cx="11144249" cy="4087839"/>
        </p:xfrm>
        <a:graphic>
          <a:graphicData uri="http://schemas.openxmlformats.org/drawingml/2006/table">
            <a:tbl>
              <a:tblPr/>
              <a:tblGrid>
                <a:gridCol w="792979">
                  <a:extLst>
                    <a:ext uri="{9D8B030D-6E8A-4147-A177-3AD203B41FA5}">
                      <a16:colId xmlns:a16="http://schemas.microsoft.com/office/drawing/2014/main" val="1396645644"/>
                    </a:ext>
                  </a:extLst>
                </a:gridCol>
                <a:gridCol w="2855942">
                  <a:extLst>
                    <a:ext uri="{9D8B030D-6E8A-4147-A177-3AD203B41FA5}">
                      <a16:colId xmlns:a16="http://schemas.microsoft.com/office/drawing/2014/main" val="2279520895"/>
                    </a:ext>
                  </a:extLst>
                </a:gridCol>
                <a:gridCol w="1288212">
                  <a:extLst>
                    <a:ext uri="{9D8B030D-6E8A-4147-A177-3AD203B41FA5}">
                      <a16:colId xmlns:a16="http://schemas.microsoft.com/office/drawing/2014/main" val="1164420666"/>
                    </a:ext>
                  </a:extLst>
                </a:gridCol>
                <a:gridCol w="1385436">
                  <a:extLst>
                    <a:ext uri="{9D8B030D-6E8A-4147-A177-3AD203B41FA5}">
                      <a16:colId xmlns:a16="http://schemas.microsoft.com/office/drawing/2014/main" val="986153707"/>
                    </a:ext>
                  </a:extLst>
                </a:gridCol>
                <a:gridCol w="376742">
                  <a:extLst>
                    <a:ext uri="{9D8B030D-6E8A-4147-A177-3AD203B41FA5}">
                      <a16:colId xmlns:a16="http://schemas.microsoft.com/office/drawing/2014/main" val="3012009586"/>
                    </a:ext>
                  </a:extLst>
                </a:gridCol>
                <a:gridCol w="303824">
                  <a:extLst>
                    <a:ext uri="{9D8B030D-6E8A-4147-A177-3AD203B41FA5}">
                      <a16:colId xmlns:a16="http://schemas.microsoft.com/office/drawing/2014/main" val="3096656274"/>
                    </a:ext>
                  </a:extLst>
                </a:gridCol>
                <a:gridCol w="340282">
                  <a:extLst>
                    <a:ext uri="{9D8B030D-6E8A-4147-A177-3AD203B41FA5}">
                      <a16:colId xmlns:a16="http://schemas.microsoft.com/office/drawing/2014/main" val="3489826527"/>
                    </a:ext>
                  </a:extLst>
                </a:gridCol>
                <a:gridCol w="340282">
                  <a:extLst>
                    <a:ext uri="{9D8B030D-6E8A-4147-A177-3AD203B41FA5}">
                      <a16:colId xmlns:a16="http://schemas.microsoft.com/office/drawing/2014/main" val="1034152323"/>
                    </a:ext>
                  </a:extLst>
                </a:gridCol>
                <a:gridCol w="303824">
                  <a:extLst>
                    <a:ext uri="{9D8B030D-6E8A-4147-A177-3AD203B41FA5}">
                      <a16:colId xmlns:a16="http://schemas.microsoft.com/office/drawing/2014/main" val="552179340"/>
                    </a:ext>
                  </a:extLst>
                </a:gridCol>
                <a:gridCol w="355474">
                  <a:extLst>
                    <a:ext uri="{9D8B030D-6E8A-4147-A177-3AD203B41FA5}">
                      <a16:colId xmlns:a16="http://schemas.microsoft.com/office/drawing/2014/main" val="886716415"/>
                    </a:ext>
                  </a:extLst>
                </a:gridCol>
                <a:gridCol w="319014">
                  <a:extLst>
                    <a:ext uri="{9D8B030D-6E8A-4147-A177-3AD203B41FA5}">
                      <a16:colId xmlns:a16="http://schemas.microsoft.com/office/drawing/2014/main" val="2110478484"/>
                    </a:ext>
                  </a:extLst>
                </a:gridCol>
                <a:gridCol w="291671">
                  <a:extLst>
                    <a:ext uri="{9D8B030D-6E8A-4147-A177-3AD203B41FA5}">
                      <a16:colId xmlns:a16="http://schemas.microsoft.com/office/drawing/2014/main" val="2020545238"/>
                    </a:ext>
                  </a:extLst>
                </a:gridCol>
                <a:gridCol w="328129">
                  <a:extLst>
                    <a:ext uri="{9D8B030D-6E8A-4147-A177-3AD203B41FA5}">
                      <a16:colId xmlns:a16="http://schemas.microsoft.com/office/drawing/2014/main" val="4182432412"/>
                    </a:ext>
                  </a:extLst>
                </a:gridCol>
                <a:gridCol w="303824">
                  <a:extLst>
                    <a:ext uri="{9D8B030D-6E8A-4147-A177-3AD203B41FA5}">
                      <a16:colId xmlns:a16="http://schemas.microsoft.com/office/drawing/2014/main" val="2671986017"/>
                    </a:ext>
                  </a:extLst>
                </a:gridCol>
                <a:gridCol w="328129">
                  <a:extLst>
                    <a:ext uri="{9D8B030D-6E8A-4147-A177-3AD203B41FA5}">
                      <a16:colId xmlns:a16="http://schemas.microsoft.com/office/drawing/2014/main" val="4160585636"/>
                    </a:ext>
                  </a:extLst>
                </a:gridCol>
                <a:gridCol w="328129">
                  <a:extLst>
                    <a:ext uri="{9D8B030D-6E8A-4147-A177-3AD203B41FA5}">
                      <a16:colId xmlns:a16="http://schemas.microsoft.com/office/drawing/2014/main" val="740609630"/>
                    </a:ext>
                  </a:extLst>
                </a:gridCol>
                <a:gridCol w="428391">
                  <a:extLst>
                    <a:ext uri="{9D8B030D-6E8A-4147-A177-3AD203B41FA5}">
                      <a16:colId xmlns:a16="http://schemas.microsoft.com/office/drawing/2014/main" val="1992371202"/>
                    </a:ext>
                  </a:extLst>
                </a:gridCol>
                <a:gridCol w="473965">
                  <a:extLst>
                    <a:ext uri="{9D8B030D-6E8A-4147-A177-3AD203B41FA5}">
                      <a16:colId xmlns:a16="http://schemas.microsoft.com/office/drawing/2014/main" val="2709322296"/>
                    </a:ext>
                  </a:extLst>
                </a:gridCol>
              </a:tblGrid>
              <a:tr h="1946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LA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ervice</a:t>
                      </a: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wner</a:t>
                      </a: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SN</a:t>
                      </a: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IL</a:t>
                      </a: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AU</a:t>
                      </a: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BY</a:t>
                      </a: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LAC</a:t>
                      </a: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SH</a:t>
                      </a: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KS</a:t>
                      </a: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LT</a:t>
                      </a: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VF</a:t>
                      </a: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TP</a:t>
                      </a: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TO</a:t>
                      </a: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UP</a:t>
                      </a: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TW</a:t>
                      </a: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UWSA</a:t>
                      </a:r>
                    </a:p>
                  </a:txBody>
                  <a:tcPr marL="9125" marR="9125" marT="91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7265328"/>
                  </a:ext>
                </a:extLst>
              </a:tr>
              <a:tr h="194659">
                <a:tc rowSpan="9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T as a Service</a:t>
                      </a:r>
                    </a:p>
                  </a:txBody>
                  <a:tcPr marL="9125" marR="9125" marT="91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ystems &amp; Engineering as a Service</a:t>
                      </a:r>
                    </a:p>
                  </a:txBody>
                  <a:tcPr marL="82122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ve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is 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adanuda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7938479"/>
                  </a:ext>
                </a:extLst>
              </a:tr>
              <a:tr h="19465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opleSoft Administration as a Service</a:t>
                      </a:r>
                    </a:p>
                  </a:txBody>
                  <a:tcPr marL="82122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ve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am Paulick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5980823"/>
                  </a:ext>
                </a:extLst>
              </a:tr>
              <a:tr h="19465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curity Incident Response</a:t>
                      </a:r>
                    </a:p>
                  </a:txBody>
                  <a:tcPr marL="82122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ve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eff Harrison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9615621"/>
                  </a:ext>
                </a:extLst>
              </a:tr>
              <a:tr h="19465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curity Monitoring, Detection, and Response</a:t>
                      </a:r>
                    </a:p>
                  </a:txBody>
                  <a:tcPr marL="82122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ve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eff Harrison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026023"/>
                  </a:ext>
                </a:extLst>
              </a:tr>
              <a:tr h="19465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opleSoft Development</a:t>
                      </a:r>
                    </a:p>
                  </a:txBody>
                  <a:tcPr marL="82122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ve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y Letto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1773071"/>
                  </a:ext>
                </a:extLst>
              </a:tr>
              <a:tr h="19465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T Service Management Platform</a:t>
                      </a:r>
                    </a:p>
                  </a:txBody>
                  <a:tcPr marL="82122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ve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cy Scholtka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0057462"/>
                  </a:ext>
                </a:extLst>
              </a:tr>
              <a:tr h="19465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twork as a Service</a:t>
                      </a:r>
                    </a:p>
                  </a:txBody>
                  <a:tcPr marL="82122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Development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BD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9683136"/>
                  </a:ext>
                </a:extLst>
              </a:tr>
              <a:tr h="19465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reat Intelligence</a:t>
                      </a:r>
                    </a:p>
                  </a:txBody>
                  <a:tcPr marL="82122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Development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eff Harrison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454510"/>
                  </a:ext>
                </a:extLst>
              </a:tr>
              <a:tr h="19465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ulnerability Management</a:t>
                      </a:r>
                    </a:p>
                  </a:txBody>
                  <a:tcPr marL="82122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Development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eff Harrison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5213568"/>
                  </a:ext>
                </a:extLst>
              </a:tr>
              <a:tr h="194659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terprise Directions Council</a:t>
                      </a:r>
                    </a:p>
                  </a:txBody>
                  <a:tcPr marL="9125" marR="9125" marT="91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gital Learning Environment</a:t>
                      </a:r>
                    </a:p>
                  </a:txBody>
                  <a:tcPr marL="82122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ve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nee Pfeifer-Luckett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6177431"/>
                  </a:ext>
                </a:extLst>
              </a:tr>
              <a:tr h="19465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gration Platform (Informatica)</a:t>
                      </a:r>
                    </a:p>
                  </a:txBody>
                  <a:tcPr marL="82122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ve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a Bender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7234413"/>
                  </a:ext>
                </a:extLst>
              </a:tr>
              <a:tr h="19465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b Conferencing (Zoom)</a:t>
                      </a:r>
                    </a:p>
                  </a:txBody>
                  <a:tcPr marL="82122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ve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cy Scholtka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9689363"/>
                  </a:ext>
                </a:extLst>
              </a:tr>
              <a:tr h="19465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orkflow Platform (BP Logix)</a:t>
                      </a:r>
                    </a:p>
                  </a:txBody>
                  <a:tcPr marL="82122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ve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sa Bender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4868782"/>
                  </a:ext>
                </a:extLst>
              </a:tr>
              <a:tr h="19465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ysNet (Wide Area Network)</a:t>
                      </a:r>
                    </a:p>
                  </a:txBody>
                  <a:tcPr marL="82122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ve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ke </a:t>
                      </a:r>
                      <a:r>
                        <a:rPr lang="en-US" sz="11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hlich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0526585"/>
                  </a:ext>
                </a:extLst>
              </a:tr>
              <a:tr h="19465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terprise Analytics Platform</a:t>
                      </a:r>
                    </a:p>
                  </a:txBody>
                  <a:tcPr marL="82122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Development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BD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7375489"/>
                  </a:ext>
                </a:extLst>
              </a:tr>
              <a:tr h="194659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7658757"/>
                  </a:ext>
                </a:extLst>
              </a:tr>
              <a:tr h="194659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rowSpan="4" gridSpan="3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gend</a:t>
                      </a:r>
                    </a:p>
                  </a:txBody>
                  <a:tcPr marL="9125" marR="9125" marT="91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4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4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 Use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6E0B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8946148"/>
                  </a:ext>
                </a:extLst>
              </a:tr>
              <a:tr h="194659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 Development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D7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9469111"/>
                  </a:ext>
                </a:extLst>
              </a:tr>
              <a:tr h="194659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arly Interest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0360579"/>
                  </a:ext>
                </a:extLst>
              </a:tr>
              <a:tr h="194659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 Partnership With</a:t>
                      </a: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25" marR="9125" marT="91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66070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0803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74CD14DB-BB81-479F-A1FC-1C75640E9F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C943A91B-7CA7-4592-A975-73B1BF8C4C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Freeform 7">
            <a:extLst>
              <a:ext uri="{FF2B5EF4-FFF2-40B4-BE49-F238E27FC236}">
                <a16:creationId xmlns:a16="http://schemas.microsoft.com/office/drawing/2014/main" id="{EC471314-E46A-414B-8D91-74880E84F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719939" y="1460230"/>
            <a:ext cx="3472060" cy="825932"/>
          </a:xfrm>
          <a:custGeom>
            <a:avLst/>
            <a:gdLst>
              <a:gd name="connsiteX0" fmla="*/ 3470310 w 3472060"/>
              <a:gd name="connsiteY0" fmla="*/ 0 h 825932"/>
              <a:gd name="connsiteX1" fmla="*/ 3472060 w 3472060"/>
              <a:gd name="connsiteY1" fmla="*/ 12850 h 825932"/>
              <a:gd name="connsiteX2" fmla="*/ 3472060 w 3472060"/>
              <a:gd name="connsiteY2" fmla="*/ 480529 h 825932"/>
              <a:gd name="connsiteX3" fmla="*/ 3363699 w 3472060"/>
              <a:gd name="connsiteY3" fmla="*/ 498471 h 825932"/>
              <a:gd name="connsiteX4" fmla="*/ 42060 w 3472060"/>
              <a:gd name="connsiteY4" fmla="*/ 824486 h 825932"/>
              <a:gd name="connsiteX5" fmla="*/ 0 w 3472060"/>
              <a:gd name="connsiteY5" fmla="*/ 758452 h 825932"/>
              <a:gd name="connsiteX6" fmla="*/ 188014 w 3472060"/>
              <a:gd name="connsiteY6" fmla="*/ 735602 h 825932"/>
              <a:gd name="connsiteX7" fmla="*/ 284087 w 3472060"/>
              <a:gd name="connsiteY7" fmla="*/ 722590 h 825932"/>
              <a:gd name="connsiteX8" fmla="*/ 382288 w 3472060"/>
              <a:gd name="connsiteY8" fmla="*/ 709392 h 825932"/>
              <a:gd name="connsiteX9" fmla="*/ 481858 w 3472060"/>
              <a:gd name="connsiteY9" fmla="*/ 695774 h 825932"/>
              <a:gd name="connsiteX10" fmla="*/ 581897 w 3472060"/>
              <a:gd name="connsiteY10" fmla="*/ 680711 h 825932"/>
              <a:gd name="connsiteX11" fmla="*/ 683670 w 3472060"/>
              <a:gd name="connsiteY11" fmla="*/ 665256 h 825932"/>
              <a:gd name="connsiteX12" fmla="*/ 787206 w 3472060"/>
              <a:gd name="connsiteY12" fmla="*/ 649587 h 825932"/>
              <a:gd name="connsiteX13" fmla="*/ 892019 w 3472060"/>
              <a:gd name="connsiteY13" fmla="*/ 632968 h 825932"/>
              <a:gd name="connsiteX14" fmla="*/ 997620 w 3472060"/>
              <a:gd name="connsiteY14" fmla="*/ 614667 h 825932"/>
              <a:gd name="connsiteX15" fmla="*/ 1104727 w 3472060"/>
              <a:gd name="connsiteY15" fmla="*/ 596741 h 825932"/>
              <a:gd name="connsiteX16" fmla="*/ 1212669 w 3472060"/>
              <a:gd name="connsiteY16" fmla="*/ 577397 h 825932"/>
              <a:gd name="connsiteX17" fmla="*/ 1321506 w 3472060"/>
              <a:gd name="connsiteY17" fmla="*/ 556988 h 825932"/>
              <a:gd name="connsiteX18" fmla="*/ 1430709 w 3472060"/>
              <a:gd name="connsiteY18" fmla="*/ 536607 h 825932"/>
              <a:gd name="connsiteX19" fmla="*/ 1541050 w 3472060"/>
              <a:gd name="connsiteY19" fmla="*/ 514481 h 825932"/>
              <a:gd name="connsiteX20" fmla="*/ 1652805 w 3472060"/>
              <a:gd name="connsiteY20" fmla="*/ 492202 h 825932"/>
              <a:gd name="connsiteX21" fmla="*/ 1763708 w 3472060"/>
              <a:gd name="connsiteY21" fmla="*/ 469161 h 825932"/>
              <a:gd name="connsiteX22" fmla="*/ 1875795 w 3472060"/>
              <a:gd name="connsiteY22" fmla="*/ 444641 h 825932"/>
              <a:gd name="connsiteX23" fmla="*/ 1989128 w 3472060"/>
              <a:gd name="connsiteY23" fmla="*/ 418995 h 825932"/>
              <a:gd name="connsiteX24" fmla="*/ 2102476 w 3472060"/>
              <a:gd name="connsiteY24" fmla="*/ 393438 h 825932"/>
              <a:gd name="connsiteX25" fmla="*/ 2215549 w 3472060"/>
              <a:gd name="connsiteY25" fmla="*/ 366291 h 825932"/>
              <a:gd name="connsiteX26" fmla="*/ 2330490 w 3472060"/>
              <a:gd name="connsiteY26" fmla="*/ 337455 h 825932"/>
              <a:gd name="connsiteX27" fmla="*/ 2443333 w 3472060"/>
              <a:gd name="connsiteY27" fmla="*/ 308983 h 825932"/>
              <a:gd name="connsiteX28" fmla="*/ 2558014 w 3472060"/>
              <a:gd name="connsiteY28" fmla="*/ 278646 h 825932"/>
              <a:gd name="connsiteX29" fmla="*/ 2673621 w 3472060"/>
              <a:gd name="connsiteY29" fmla="*/ 247421 h 825932"/>
              <a:gd name="connsiteX30" fmla="*/ 2787008 w 3472060"/>
              <a:gd name="connsiteY30" fmla="*/ 215853 h 825932"/>
              <a:gd name="connsiteX31" fmla="*/ 2901442 w 3472060"/>
              <a:gd name="connsiteY31" fmla="*/ 182011 h 825932"/>
              <a:gd name="connsiteX32" fmla="*/ 3015722 w 3472060"/>
              <a:gd name="connsiteY32" fmla="*/ 147286 h 825932"/>
              <a:gd name="connsiteX33" fmla="*/ 3130018 w 3472060"/>
              <a:gd name="connsiteY33" fmla="*/ 112649 h 825932"/>
              <a:gd name="connsiteX34" fmla="*/ 3243551 w 3472060"/>
              <a:gd name="connsiteY34" fmla="*/ 75688 h 825932"/>
              <a:gd name="connsiteX35" fmla="*/ 3356992 w 3472060"/>
              <a:gd name="connsiteY35" fmla="*/ 38197 h 825932"/>
              <a:gd name="connsiteX36" fmla="*/ 3470310 w 3472060"/>
              <a:gd name="connsiteY36" fmla="*/ 0 h 825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472060" h="825932">
                <a:moveTo>
                  <a:pt x="3470310" y="0"/>
                </a:moveTo>
                <a:lnTo>
                  <a:pt x="3472060" y="12850"/>
                </a:lnTo>
                <a:lnTo>
                  <a:pt x="3472060" y="480529"/>
                </a:lnTo>
                <a:lnTo>
                  <a:pt x="3363699" y="498471"/>
                </a:lnTo>
                <a:cubicBezTo>
                  <a:pt x="2435623" y="645518"/>
                  <a:pt x="603076" y="844866"/>
                  <a:pt x="42060" y="824486"/>
                </a:cubicBezTo>
                <a:cubicBezTo>
                  <a:pt x="28151" y="802425"/>
                  <a:pt x="13909" y="780513"/>
                  <a:pt x="0" y="758452"/>
                </a:cubicBezTo>
                <a:lnTo>
                  <a:pt x="188014" y="735602"/>
                </a:lnTo>
                <a:lnTo>
                  <a:pt x="284087" y="722590"/>
                </a:lnTo>
                <a:lnTo>
                  <a:pt x="382288" y="709392"/>
                </a:lnTo>
                <a:lnTo>
                  <a:pt x="481858" y="695774"/>
                </a:lnTo>
                <a:lnTo>
                  <a:pt x="581897" y="680711"/>
                </a:lnTo>
                <a:lnTo>
                  <a:pt x="683670" y="665256"/>
                </a:lnTo>
                <a:lnTo>
                  <a:pt x="787206" y="649587"/>
                </a:lnTo>
                <a:lnTo>
                  <a:pt x="892019" y="632968"/>
                </a:lnTo>
                <a:lnTo>
                  <a:pt x="997620" y="614667"/>
                </a:lnTo>
                <a:lnTo>
                  <a:pt x="1104727" y="596741"/>
                </a:lnTo>
                <a:lnTo>
                  <a:pt x="1212669" y="577397"/>
                </a:lnTo>
                <a:lnTo>
                  <a:pt x="1321506" y="556988"/>
                </a:lnTo>
                <a:lnTo>
                  <a:pt x="1430709" y="536607"/>
                </a:lnTo>
                <a:lnTo>
                  <a:pt x="1541050" y="514481"/>
                </a:lnTo>
                <a:lnTo>
                  <a:pt x="1652805" y="492202"/>
                </a:lnTo>
                <a:lnTo>
                  <a:pt x="1763708" y="469161"/>
                </a:lnTo>
                <a:lnTo>
                  <a:pt x="1875795" y="444641"/>
                </a:lnTo>
                <a:lnTo>
                  <a:pt x="1989128" y="418995"/>
                </a:lnTo>
                <a:lnTo>
                  <a:pt x="2102476" y="393438"/>
                </a:lnTo>
                <a:lnTo>
                  <a:pt x="2215549" y="366291"/>
                </a:lnTo>
                <a:lnTo>
                  <a:pt x="2330490" y="337455"/>
                </a:lnTo>
                <a:lnTo>
                  <a:pt x="2443333" y="308983"/>
                </a:lnTo>
                <a:lnTo>
                  <a:pt x="2558014" y="278646"/>
                </a:lnTo>
                <a:lnTo>
                  <a:pt x="2673621" y="247421"/>
                </a:lnTo>
                <a:lnTo>
                  <a:pt x="2787008" y="215853"/>
                </a:lnTo>
                <a:lnTo>
                  <a:pt x="2901442" y="182011"/>
                </a:lnTo>
                <a:lnTo>
                  <a:pt x="3015722" y="147286"/>
                </a:lnTo>
                <a:lnTo>
                  <a:pt x="3130018" y="112649"/>
                </a:lnTo>
                <a:lnTo>
                  <a:pt x="3243551" y="75688"/>
                </a:lnTo>
                <a:lnTo>
                  <a:pt x="3356992" y="38197"/>
                </a:lnTo>
                <a:lnTo>
                  <a:pt x="347031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 useBgFill="1">
        <p:nvSpPr>
          <p:cNvPr id="9" name="Freeform: Shape 13">
            <a:extLst>
              <a:ext uri="{FF2B5EF4-FFF2-40B4-BE49-F238E27FC236}">
                <a16:creationId xmlns:a16="http://schemas.microsoft.com/office/drawing/2014/main" id="{6A681326-1C9D-44A3-A627-3871BDAE41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1" y="1762067"/>
            <a:ext cx="12192417" cy="5095933"/>
          </a:xfrm>
          <a:custGeom>
            <a:avLst/>
            <a:gdLst>
              <a:gd name="connsiteX0" fmla="*/ 0 w 12192417"/>
              <a:gd name="connsiteY0" fmla="*/ 0 h 5095933"/>
              <a:gd name="connsiteX1" fmla="*/ 71931 w 12192417"/>
              <a:gd name="connsiteY1" fmla="*/ 12261 h 5095933"/>
              <a:gd name="connsiteX2" fmla="*/ 282848 w 12192417"/>
              <a:gd name="connsiteY2" fmla="*/ 48343 h 5095933"/>
              <a:gd name="connsiteX3" fmla="*/ 436463 w 12192417"/>
              <a:gd name="connsiteY3" fmla="*/ 73565 h 5095933"/>
              <a:gd name="connsiteX4" fmla="*/ 619338 w 12192417"/>
              <a:gd name="connsiteY4" fmla="*/ 100188 h 5095933"/>
              <a:gd name="connsiteX5" fmla="*/ 836350 w 12192417"/>
              <a:gd name="connsiteY5" fmla="*/ 132066 h 5095933"/>
              <a:gd name="connsiteX6" fmla="*/ 1076527 w 12192417"/>
              <a:gd name="connsiteY6" fmla="*/ 165696 h 5095933"/>
              <a:gd name="connsiteX7" fmla="*/ 1347183 w 12192417"/>
              <a:gd name="connsiteY7" fmla="*/ 201077 h 5095933"/>
              <a:gd name="connsiteX8" fmla="*/ 1642222 w 12192417"/>
              <a:gd name="connsiteY8" fmla="*/ 238560 h 5095933"/>
              <a:gd name="connsiteX9" fmla="*/ 1962863 w 12192417"/>
              <a:gd name="connsiteY9" fmla="*/ 276043 h 5095933"/>
              <a:gd name="connsiteX10" fmla="*/ 2304231 w 12192417"/>
              <a:gd name="connsiteY10" fmla="*/ 314227 h 5095933"/>
              <a:gd name="connsiteX11" fmla="*/ 2672420 w 12192417"/>
              <a:gd name="connsiteY11" fmla="*/ 349608 h 5095933"/>
              <a:gd name="connsiteX12" fmla="*/ 3057677 w 12192417"/>
              <a:gd name="connsiteY12" fmla="*/ 383588 h 5095933"/>
              <a:gd name="connsiteX13" fmla="*/ 3464880 w 12192417"/>
              <a:gd name="connsiteY13" fmla="*/ 414415 h 5095933"/>
              <a:gd name="connsiteX14" fmla="*/ 3889151 w 12192417"/>
              <a:gd name="connsiteY14" fmla="*/ 443841 h 5095933"/>
              <a:gd name="connsiteX15" fmla="*/ 4331709 w 12192417"/>
              <a:gd name="connsiteY15" fmla="*/ 471515 h 5095933"/>
              <a:gd name="connsiteX16" fmla="*/ 4558475 w 12192417"/>
              <a:gd name="connsiteY16" fmla="*/ 481324 h 5095933"/>
              <a:gd name="connsiteX17" fmla="*/ 4790117 w 12192417"/>
              <a:gd name="connsiteY17" fmla="*/ 492183 h 5095933"/>
              <a:gd name="connsiteX18" fmla="*/ 5025417 w 12192417"/>
              <a:gd name="connsiteY18" fmla="*/ 502342 h 5095933"/>
              <a:gd name="connsiteX19" fmla="*/ 5261936 w 12192417"/>
              <a:gd name="connsiteY19" fmla="*/ 508998 h 5095933"/>
              <a:gd name="connsiteX20" fmla="*/ 5503331 w 12192417"/>
              <a:gd name="connsiteY20" fmla="*/ 514953 h 5095933"/>
              <a:gd name="connsiteX21" fmla="*/ 5747166 w 12192417"/>
              <a:gd name="connsiteY21" fmla="*/ 521259 h 5095933"/>
              <a:gd name="connsiteX22" fmla="*/ 5995876 w 12192417"/>
              <a:gd name="connsiteY22" fmla="*/ 525463 h 5095933"/>
              <a:gd name="connsiteX23" fmla="*/ 6247025 w 12192417"/>
              <a:gd name="connsiteY23" fmla="*/ 525463 h 5095933"/>
              <a:gd name="connsiteX24" fmla="*/ 6500612 w 12192417"/>
              <a:gd name="connsiteY24" fmla="*/ 527565 h 5095933"/>
              <a:gd name="connsiteX25" fmla="*/ 6756638 w 12192417"/>
              <a:gd name="connsiteY25" fmla="*/ 525463 h 5095933"/>
              <a:gd name="connsiteX26" fmla="*/ 7016321 w 12192417"/>
              <a:gd name="connsiteY26" fmla="*/ 521259 h 5095933"/>
              <a:gd name="connsiteX27" fmla="*/ 7276004 w 12192417"/>
              <a:gd name="connsiteY27" fmla="*/ 517406 h 5095933"/>
              <a:gd name="connsiteX28" fmla="*/ 7539344 w 12192417"/>
              <a:gd name="connsiteY28" fmla="*/ 508998 h 5095933"/>
              <a:gd name="connsiteX29" fmla="*/ 7805123 w 12192417"/>
              <a:gd name="connsiteY29" fmla="*/ 500241 h 5095933"/>
              <a:gd name="connsiteX30" fmla="*/ 8070902 w 12192417"/>
              <a:gd name="connsiteY30" fmla="*/ 490082 h 5095933"/>
              <a:gd name="connsiteX31" fmla="*/ 8339120 w 12192417"/>
              <a:gd name="connsiteY31" fmla="*/ 475719 h 5095933"/>
              <a:gd name="connsiteX32" fmla="*/ 8609775 w 12192417"/>
              <a:gd name="connsiteY32" fmla="*/ 458554 h 5095933"/>
              <a:gd name="connsiteX33" fmla="*/ 8881650 w 12192417"/>
              <a:gd name="connsiteY33" fmla="*/ 442089 h 5095933"/>
              <a:gd name="connsiteX34" fmla="*/ 9153525 w 12192417"/>
              <a:gd name="connsiteY34" fmla="*/ 421071 h 5095933"/>
              <a:gd name="connsiteX35" fmla="*/ 9429057 w 12192417"/>
              <a:gd name="connsiteY35" fmla="*/ 395849 h 5095933"/>
              <a:gd name="connsiteX36" fmla="*/ 9700932 w 12192417"/>
              <a:gd name="connsiteY36" fmla="*/ 370626 h 5095933"/>
              <a:gd name="connsiteX37" fmla="*/ 9977683 w 12192417"/>
              <a:gd name="connsiteY37" fmla="*/ 341551 h 5095933"/>
              <a:gd name="connsiteX38" fmla="*/ 10255654 w 12192417"/>
              <a:gd name="connsiteY38" fmla="*/ 309673 h 5095933"/>
              <a:gd name="connsiteX39" fmla="*/ 10529967 w 12192417"/>
              <a:gd name="connsiteY39" fmla="*/ 276043 h 5095933"/>
              <a:gd name="connsiteX40" fmla="*/ 10807938 w 12192417"/>
              <a:gd name="connsiteY40" fmla="*/ 236809 h 5095933"/>
              <a:gd name="connsiteX41" fmla="*/ 11084689 w 12192417"/>
              <a:gd name="connsiteY41" fmla="*/ 194772 h 5095933"/>
              <a:gd name="connsiteX42" fmla="*/ 11362660 w 12192417"/>
              <a:gd name="connsiteY42" fmla="*/ 153085 h 5095933"/>
              <a:gd name="connsiteX43" fmla="*/ 11639411 w 12192417"/>
              <a:gd name="connsiteY43" fmla="*/ 104392 h 5095933"/>
              <a:gd name="connsiteX44" fmla="*/ 11914944 w 12192417"/>
              <a:gd name="connsiteY44" fmla="*/ 54648 h 5095933"/>
              <a:gd name="connsiteX45" fmla="*/ 12191695 w 12192417"/>
              <a:gd name="connsiteY45" fmla="*/ 2452 h 5095933"/>
              <a:gd name="connsiteX46" fmla="*/ 12191695 w 12192417"/>
              <a:gd name="connsiteY46" fmla="*/ 2162231 h 5095933"/>
              <a:gd name="connsiteX47" fmla="*/ 12192417 w 12192417"/>
              <a:gd name="connsiteY47" fmla="*/ 2162231 h 5095933"/>
              <a:gd name="connsiteX48" fmla="*/ 12192417 w 12192417"/>
              <a:gd name="connsiteY48" fmla="*/ 5095933 h 5095933"/>
              <a:gd name="connsiteX49" fmla="*/ 0 w 12192417"/>
              <a:gd name="connsiteY49" fmla="*/ 5095933 h 5095933"/>
              <a:gd name="connsiteX50" fmla="*/ 0 w 12192417"/>
              <a:gd name="connsiteY50" fmla="*/ 2791958 h 5095933"/>
              <a:gd name="connsiteX51" fmla="*/ 0 w 12192417"/>
              <a:gd name="connsiteY51" fmla="*/ 2162231 h 509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2192417" h="5095933">
                <a:moveTo>
                  <a:pt x="0" y="0"/>
                </a:moveTo>
                <a:lnTo>
                  <a:pt x="71931" y="12261"/>
                </a:lnTo>
                <a:lnTo>
                  <a:pt x="282848" y="48343"/>
                </a:lnTo>
                <a:lnTo>
                  <a:pt x="436463" y="73565"/>
                </a:lnTo>
                <a:lnTo>
                  <a:pt x="619338" y="100188"/>
                </a:lnTo>
                <a:lnTo>
                  <a:pt x="836350" y="132066"/>
                </a:lnTo>
                <a:lnTo>
                  <a:pt x="1076527" y="165696"/>
                </a:lnTo>
                <a:lnTo>
                  <a:pt x="1347183" y="201077"/>
                </a:lnTo>
                <a:lnTo>
                  <a:pt x="1642222" y="238560"/>
                </a:lnTo>
                <a:lnTo>
                  <a:pt x="1962863" y="276043"/>
                </a:lnTo>
                <a:lnTo>
                  <a:pt x="2304231" y="314227"/>
                </a:lnTo>
                <a:lnTo>
                  <a:pt x="2672420" y="349608"/>
                </a:lnTo>
                <a:lnTo>
                  <a:pt x="3057677" y="383588"/>
                </a:lnTo>
                <a:lnTo>
                  <a:pt x="3464880" y="414415"/>
                </a:lnTo>
                <a:lnTo>
                  <a:pt x="3889151" y="443841"/>
                </a:lnTo>
                <a:lnTo>
                  <a:pt x="4331709" y="471515"/>
                </a:lnTo>
                <a:lnTo>
                  <a:pt x="4558475" y="481324"/>
                </a:lnTo>
                <a:lnTo>
                  <a:pt x="4790117" y="492183"/>
                </a:lnTo>
                <a:lnTo>
                  <a:pt x="5025417" y="502342"/>
                </a:lnTo>
                <a:lnTo>
                  <a:pt x="5261936" y="508998"/>
                </a:lnTo>
                <a:lnTo>
                  <a:pt x="5503331" y="514953"/>
                </a:lnTo>
                <a:lnTo>
                  <a:pt x="5747166" y="521259"/>
                </a:lnTo>
                <a:lnTo>
                  <a:pt x="5995876" y="525463"/>
                </a:lnTo>
                <a:lnTo>
                  <a:pt x="6247025" y="525463"/>
                </a:lnTo>
                <a:lnTo>
                  <a:pt x="6500612" y="527565"/>
                </a:lnTo>
                <a:lnTo>
                  <a:pt x="6756638" y="525463"/>
                </a:lnTo>
                <a:lnTo>
                  <a:pt x="7016321" y="521259"/>
                </a:lnTo>
                <a:lnTo>
                  <a:pt x="7276004" y="517406"/>
                </a:lnTo>
                <a:lnTo>
                  <a:pt x="7539344" y="508998"/>
                </a:lnTo>
                <a:lnTo>
                  <a:pt x="7805123" y="500241"/>
                </a:lnTo>
                <a:lnTo>
                  <a:pt x="8070902" y="490082"/>
                </a:lnTo>
                <a:lnTo>
                  <a:pt x="8339120" y="475719"/>
                </a:lnTo>
                <a:lnTo>
                  <a:pt x="8609775" y="458554"/>
                </a:lnTo>
                <a:lnTo>
                  <a:pt x="8881650" y="442089"/>
                </a:lnTo>
                <a:lnTo>
                  <a:pt x="9153525" y="421071"/>
                </a:lnTo>
                <a:lnTo>
                  <a:pt x="9429057" y="395849"/>
                </a:lnTo>
                <a:lnTo>
                  <a:pt x="9700932" y="370626"/>
                </a:lnTo>
                <a:lnTo>
                  <a:pt x="9977683" y="341551"/>
                </a:lnTo>
                <a:lnTo>
                  <a:pt x="10255654" y="309673"/>
                </a:lnTo>
                <a:lnTo>
                  <a:pt x="10529967" y="276043"/>
                </a:lnTo>
                <a:lnTo>
                  <a:pt x="10807938" y="236809"/>
                </a:lnTo>
                <a:lnTo>
                  <a:pt x="11084689" y="194772"/>
                </a:lnTo>
                <a:lnTo>
                  <a:pt x="11362660" y="153085"/>
                </a:lnTo>
                <a:lnTo>
                  <a:pt x="11639411" y="104392"/>
                </a:lnTo>
                <a:lnTo>
                  <a:pt x="11914944" y="54648"/>
                </a:lnTo>
                <a:lnTo>
                  <a:pt x="12191695" y="2452"/>
                </a:lnTo>
                <a:lnTo>
                  <a:pt x="12191695" y="2162231"/>
                </a:lnTo>
                <a:lnTo>
                  <a:pt x="12192417" y="2162231"/>
                </a:lnTo>
                <a:lnTo>
                  <a:pt x="12192417" y="5095933"/>
                </a:lnTo>
                <a:lnTo>
                  <a:pt x="0" y="5095933"/>
                </a:lnTo>
                <a:lnTo>
                  <a:pt x="0" y="2791958"/>
                </a:lnTo>
                <a:lnTo>
                  <a:pt x="0" y="2162231"/>
                </a:lnTo>
                <a:close/>
              </a:path>
            </a:pathLst>
          </a:custGeom>
          <a:ln>
            <a:noFill/>
          </a:ln>
        </p:spPr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52DEB6-587F-4410-838F-3EA0BE6739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3312" y="452718"/>
            <a:ext cx="8947522" cy="1400530"/>
          </a:xfrm>
        </p:spPr>
        <p:txBody>
          <a:bodyPr anchor="ctr">
            <a:normAutofit/>
          </a:bodyPr>
          <a:lstStyle/>
          <a:p>
            <a:r>
              <a:rPr lang="en-US" sz="3600">
                <a:solidFill>
                  <a:srgbClr val="FFFFFF"/>
                </a:solidFill>
              </a:rPr>
              <a:t>Systems and Engineering as a Service (SaaS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9D51ADC-F182-41F2-8691-70FC90138F41}"/>
              </a:ext>
            </a:extLst>
          </p:cNvPr>
          <p:cNvSpPr txBox="1"/>
          <p:nvPr/>
        </p:nvSpPr>
        <p:spPr>
          <a:xfrm>
            <a:off x="374552" y="2725179"/>
            <a:ext cx="1847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446C1FB-9569-41BD-9FBA-AA48723B65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6625" y="3097351"/>
            <a:ext cx="10653103" cy="3127236"/>
          </a:xfrm>
        </p:spPr>
        <p:txBody>
          <a:bodyPr vert="horz" lIns="91440" tIns="45720" rIns="91440" bIns="45720" rtlCol="0" anchor="t">
            <a:normAutofit/>
          </a:bodyPr>
          <a:lstStyle/>
          <a:p>
            <a:pPr lvl="1">
              <a:buClrTx/>
              <a:buFont typeface="Wingdings" charset="2"/>
              <a:buChar char="§"/>
            </a:pPr>
            <a:r>
              <a:rPr lang="en-US" b="1"/>
              <a:t>Server Administration</a:t>
            </a:r>
          </a:p>
          <a:p>
            <a:pPr lvl="2">
              <a:buClrTx/>
              <a:buFont typeface="Wingdings" charset="2"/>
              <a:buChar char="§"/>
            </a:pPr>
            <a:r>
              <a:rPr lang="en-US"/>
              <a:t>Provide virtual infrastructure, hosting of VM's, backup, monitoring, security, compliance</a:t>
            </a:r>
          </a:p>
          <a:p>
            <a:pPr lvl="1">
              <a:buClrTx/>
              <a:buFont typeface="Wingdings" charset="2"/>
              <a:buChar char="§"/>
            </a:pPr>
            <a:r>
              <a:rPr lang="en-US" b="1"/>
              <a:t>Identity and Access Management</a:t>
            </a:r>
          </a:p>
          <a:p>
            <a:pPr lvl="2">
              <a:buClrTx/>
              <a:buFont typeface="Wingdings" charset="2"/>
              <a:buChar char="§"/>
            </a:pPr>
            <a:r>
              <a:rPr lang="en-US"/>
              <a:t>Manage Active Directory and associated identity systems and technology processes</a:t>
            </a:r>
          </a:p>
          <a:p>
            <a:pPr lvl="1">
              <a:buClrTx/>
              <a:buFont typeface="Wingdings" charset="2"/>
              <a:buChar char="§"/>
            </a:pPr>
            <a:r>
              <a:rPr lang="en-US" b="1"/>
              <a:t>Microsoft 365 and Azure</a:t>
            </a:r>
          </a:p>
          <a:p>
            <a:pPr lvl="2">
              <a:buClrTx/>
              <a:buFont typeface="Wingdings" charset="2"/>
              <a:buChar char="§"/>
            </a:pPr>
            <a:r>
              <a:rPr lang="en-US"/>
              <a:t>Manage collaboration suite and Azure workloads</a:t>
            </a:r>
          </a:p>
          <a:p>
            <a:pPr lvl="1" indent="-285750">
              <a:buClrTx/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2008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7">
            <a:extLst>
              <a:ext uri="{FF2B5EF4-FFF2-40B4-BE49-F238E27FC236}">
                <a16:creationId xmlns:a16="http://schemas.microsoft.com/office/drawing/2014/main" id="{74CD14DB-BB81-479F-A1FC-1C75640E9F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8" name="Rectangle 9">
            <a:extLst>
              <a:ext uri="{FF2B5EF4-FFF2-40B4-BE49-F238E27FC236}">
                <a16:creationId xmlns:a16="http://schemas.microsoft.com/office/drawing/2014/main" id="{C943A91B-7CA7-4592-A975-73B1BF8C4C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9" name="Freeform 7">
            <a:extLst>
              <a:ext uri="{FF2B5EF4-FFF2-40B4-BE49-F238E27FC236}">
                <a16:creationId xmlns:a16="http://schemas.microsoft.com/office/drawing/2014/main" id="{EC471314-E46A-414B-8D91-74880E84F1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719939" y="1460230"/>
            <a:ext cx="3472060" cy="825932"/>
          </a:xfrm>
          <a:custGeom>
            <a:avLst/>
            <a:gdLst>
              <a:gd name="connsiteX0" fmla="*/ 3470310 w 3472060"/>
              <a:gd name="connsiteY0" fmla="*/ 0 h 825932"/>
              <a:gd name="connsiteX1" fmla="*/ 3472060 w 3472060"/>
              <a:gd name="connsiteY1" fmla="*/ 12850 h 825932"/>
              <a:gd name="connsiteX2" fmla="*/ 3472060 w 3472060"/>
              <a:gd name="connsiteY2" fmla="*/ 480529 h 825932"/>
              <a:gd name="connsiteX3" fmla="*/ 3363699 w 3472060"/>
              <a:gd name="connsiteY3" fmla="*/ 498471 h 825932"/>
              <a:gd name="connsiteX4" fmla="*/ 42060 w 3472060"/>
              <a:gd name="connsiteY4" fmla="*/ 824486 h 825932"/>
              <a:gd name="connsiteX5" fmla="*/ 0 w 3472060"/>
              <a:gd name="connsiteY5" fmla="*/ 758452 h 825932"/>
              <a:gd name="connsiteX6" fmla="*/ 188014 w 3472060"/>
              <a:gd name="connsiteY6" fmla="*/ 735602 h 825932"/>
              <a:gd name="connsiteX7" fmla="*/ 284087 w 3472060"/>
              <a:gd name="connsiteY7" fmla="*/ 722590 h 825932"/>
              <a:gd name="connsiteX8" fmla="*/ 382288 w 3472060"/>
              <a:gd name="connsiteY8" fmla="*/ 709392 h 825932"/>
              <a:gd name="connsiteX9" fmla="*/ 481858 w 3472060"/>
              <a:gd name="connsiteY9" fmla="*/ 695774 h 825932"/>
              <a:gd name="connsiteX10" fmla="*/ 581897 w 3472060"/>
              <a:gd name="connsiteY10" fmla="*/ 680711 h 825932"/>
              <a:gd name="connsiteX11" fmla="*/ 683670 w 3472060"/>
              <a:gd name="connsiteY11" fmla="*/ 665256 h 825932"/>
              <a:gd name="connsiteX12" fmla="*/ 787206 w 3472060"/>
              <a:gd name="connsiteY12" fmla="*/ 649587 h 825932"/>
              <a:gd name="connsiteX13" fmla="*/ 892019 w 3472060"/>
              <a:gd name="connsiteY13" fmla="*/ 632968 h 825932"/>
              <a:gd name="connsiteX14" fmla="*/ 997620 w 3472060"/>
              <a:gd name="connsiteY14" fmla="*/ 614667 h 825932"/>
              <a:gd name="connsiteX15" fmla="*/ 1104727 w 3472060"/>
              <a:gd name="connsiteY15" fmla="*/ 596741 h 825932"/>
              <a:gd name="connsiteX16" fmla="*/ 1212669 w 3472060"/>
              <a:gd name="connsiteY16" fmla="*/ 577397 h 825932"/>
              <a:gd name="connsiteX17" fmla="*/ 1321506 w 3472060"/>
              <a:gd name="connsiteY17" fmla="*/ 556988 h 825932"/>
              <a:gd name="connsiteX18" fmla="*/ 1430709 w 3472060"/>
              <a:gd name="connsiteY18" fmla="*/ 536607 h 825932"/>
              <a:gd name="connsiteX19" fmla="*/ 1541050 w 3472060"/>
              <a:gd name="connsiteY19" fmla="*/ 514481 h 825932"/>
              <a:gd name="connsiteX20" fmla="*/ 1652805 w 3472060"/>
              <a:gd name="connsiteY20" fmla="*/ 492202 h 825932"/>
              <a:gd name="connsiteX21" fmla="*/ 1763708 w 3472060"/>
              <a:gd name="connsiteY21" fmla="*/ 469161 h 825932"/>
              <a:gd name="connsiteX22" fmla="*/ 1875795 w 3472060"/>
              <a:gd name="connsiteY22" fmla="*/ 444641 h 825932"/>
              <a:gd name="connsiteX23" fmla="*/ 1989128 w 3472060"/>
              <a:gd name="connsiteY23" fmla="*/ 418995 h 825932"/>
              <a:gd name="connsiteX24" fmla="*/ 2102476 w 3472060"/>
              <a:gd name="connsiteY24" fmla="*/ 393438 h 825932"/>
              <a:gd name="connsiteX25" fmla="*/ 2215549 w 3472060"/>
              <a:gd name="connsiteY25" fmla="*/ 366291 h 825932"/>
              <a:gd name="connsiteX26" fmla="*/ 2330490 w 3472060"/>
              <a:gd name="connsiteY26" fmla="*/ 337455 h 825932"/>
              <a:gd name="connsiteX27" fmla="*/ 2443333 w 3472060"/>
              <a:gd name="connsiteY27" fmla="*/ 308983 h 825932"/>
              <a:gd name="connsiteX28" fmla="*/ 2558014 w 3472060"/>
              <a:gd name="connsiteY28" fmla="*/ 278646 h 825932"/>
              <a:gd name="connsiteX29" fmla="*/ 2673621 w 3472060"/>
              <a:gd name="connsiteY29" fmla="*/ 247421 h 825932"/>
              <a:gd name="connsiteX30" fmla="*/ 2787008 w 3472060"/>
              <a:gd name="connsiteY30" fmla="*/ 215853 h 825932"/>
              <a:gd name="connsiteX31" fmla="*/ 2901442 w 3472060"/>
              <a:gd name="connsiteY31" fmla="*/ 182011 h 825932"/>
              <a:gd name="connsiteX32" fmla="*/ 3015722 w 3472060"/>
              <a:gd name="connsiteY32" fmla="*/ 147286 h 825932"/>
              <a:gd name="connsiteX33" fmla="*/ 3130018 w 3472060"/>
              <a:gd name="connsiteY33" fmla="*/ 112649 h 825932"/>
              <a:gd name="connsiteX34" fmla="*/ 3243551 w 3472060"/>
              <a:gd name="connsiteY34" fmla="*/ 75688 h 825932"/>
              <a:gd name="connsiteX35" fmla="*/ 3356992 w 3472060"/>
              <a:gd name="connsiteY35" fmla="*/ 38197 h 825932"/>
              <a:gd name="connsiteX36" fmla="*/ 3470310 w 3472060"/>
              <a:gd name="connsiteY36" fmla="*/ 0 h 825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472060" h="825932">
                <a:moveTo>
                  <a:pt x="3470310" y="0"/>
                </a:moveTo>
                <a:lnTo>
                  <a:pt x="3472060" y="12850"/>
                </a:lnTo>
                <a:lnTo>
                  <a:pt x="3472060" y="480529"/>
                </a:lnTo>
                <a:lnTo>
                  <a:pt x="3363699" y="498471"/>
                </a:lnTo>
                <a:cubicBezTo>
                  <a:pt x="2435623" y="645518"/>
                  <a:pt x="603076" y="844866"/>
                  <a:pt x="42060" y="824486"/>
                </a:cubicBezTo>
                <a:cubicBezTo>
                  <a:pt x="28151" y="802425"/>
                  <a:pt x="13909" y="780513"/>
                  <a:pt x="0" y="758452"/>
                </a:cubicBezTo>
                <a:lnTo>
                  <a:pt x="188014" y="735602"/>
                </a:lnTo>
                <a:lnTo>
                  <a:pt x="284087" y="722590"/>
                </a:lnTo>
                <a:lnTo>
                  <a:pt x="382288" y="709392"/>
                </a:lnTo>
                <a:lnTo>
                  <a:pt x="481858" y="695774"/>
                </a:lnTo>
                <a:lnTo>
                  <a:pt x="581897" y="680711"/>
                </a:lnTo>
                <a:lnTo>
                  <a:pt x="683670" y="665256"/>
                </a:lnTo>
                <a:lnTo>
                  <a:pt x="787206" y="649587"/>
                </a:lnTo>
                <a:lnTo>
                  <a:pt x="892019" y="632968"/>
                </a:lnTo>
                <a:lnTo>
                  <a:pt x="997620" y="614667"/>
                </a:lnTo>
                <a:lnTo>
                  <a:pt x="1104727" y="596741"/>
                </a:lnTo>
                <a:lnTo>
                  <a:pt x="1212669" y="577397"/>
                </a:lnTo>
                <a:lnTo>
                  <a:pt x="1321506" y="556988"/>
                </a:lnTo>
                <a:lnTo>
                  <a:pt x="1430709" y="536607"/>
                </a:lnTo>
                <a:lnTo>
                  <a:pt x="1541050" y="514481"/>
                </a:lnTo>
                <a:lnTo>
                  <a:pt x="1652805" y="492202"/>
                </a:lnTo>
                <a:lnTo>
                  <a:pt x="1763708" y="469161"/>
                </a:lnTo>
                <a:lnTo>
                  <a:pt x="1875795" y="444641"/>
                </a:lnTo>
                <a:lnTo>
                  <a:pt x="1989128" y="418995"/>
                </a:lnTo>
                <a:lnTo>
                  <a:pt x="2102476" y="393438"/>
                </a:lnTo>
                <a:lnTo>
                  <a:pt x="2215549" y="366291"/>
                </a:lnTo>
                <a:lnTo>
                  <a:pt x="2330490" y="337455"/>
                </a:lnTo>
                <a:lnTo>
                  <a:pt x="2443333" y="308983"/>
                </a:lnTo>
                <a:lnTo>
                  <a:pt x="2558014" y="278646"/>
                </a:lnTo>
                <a:lnTo>
                  <a:pt x="2673621" y="247421"/>
                </a:lnTo>
                <a:lnTo>
                  <a:pt x="2787008" y="215853"/>
                </a:lnTo>
                <a:lnTo>
                  <a:pt x="2901442" y="182011"/>
                </a:lnTo>
                <a:lnTo>
                  <a:pt x="3015722" y="147286"/>
                </a:lnTo>
                <a:lnTo>
                  <a:pt x="3130018" y="112649"/>
                </a:lnTo>
                <a:lnTo>
                  <a:pt x="3243551" y="75688"/>
                </a:lnTo>
                <a:lnTo>
                  <a:pt x="3356992" y="38197"/>
                </a:lnTo>
                <a:lnTo>
                  <a:pt x="347031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 useBgFill="1">
        <p:nvSpPr>
          <p:cNvPr id="20" name="Freeform: Shape 13">
            <a:extLst>
              <a:ext uri="{FF2B5EF4-FFF2-40B4-BE49-F238E27FC236}">
                <a16:creationId xmlns:a16="http://schemas.microsoft.com/office/drawing/2014/main" id="{6A681326-1C9D-44A3-A627-3871BDAE41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">
          <a:xfrm>
            <a:off x="1" y="1762067"/>
            <a:ext cx="12192417" cy="5095933"/>
          </a:xfrm>
          <a:custGeom>
            <a:avLst/>
            <a:gdLst>
              <a:gd name="connsiteX0" fmla="*/ 0 w 12192417"/>
              <a:gd name="connsiteY0" fmla="*/ 0 h 5095933"/>
              <a:gd name="connsiteX1" fmla="*/ 71931 w 12192417"/>
              <a:gd name="connsiteY1" fmla="*/ 12261 h 5095933"/>
              <a:gd name="connsiteX2" fmla="*/ 282848 w 12192417"/>
              <a:gd name="connsiteY2" fmla="*/ 48343 h 5095933"/>
              <a:gd name="connsiteX3" fmla="*/ 436463 w 12192417"/>
              <a:gd name="connsiteY3" fmla="*/ 73565 h 5095933"/>
              <a:gd name="connsiteX4" fmla="*/ 619338 w 12192417"/>
              <a:gd name="connsiteY4" fmla="*/ 100188 h 5095933"/>
              <a:gd name="connsiteX5" fmla="*/ 836350 w 12192417"/>
              <a:gd name="connsiteY5" fmla="*/ 132066 h 5095933"/>
              <a:gd name="connsiteX6" fmla="*/ 1076527 w 12192417"/>
              <a:gd name="connsiteY6" fmla="*/ 165696 h 5095933"/>
              <a:gd name="connsiteX7" fmla="*/ 1347183 w 12192417"/>
              <a:gd name="connsiteY7" fmla="*/ 201077 h 5095933"/>
              <a:gd name="connsiteX8" fmla="*/ 1642222 w 12192417"/>
              <a:gd name="connsiteY8" fmla="*/ 238560 h 5095933"/>
              <a:gd name="connsiteX9" fmla="*/ 1962863 w 12192417"/>
              <a:gd name="connsiteY9" fmla="*/ 276043 h 5095933"/>
              <a:gd name="connsiteX10" fmla="*/ 2304231 w 12192417"/>
              <a:gd name="connsiteY10" fmla="*/ 314227 h 5095933"/>
              <a:gd name="connsiteX11" fmla="*/ 2672420 w 12192417"/>
              <a:gd name="connsiteY11" fmla="*/ 349608 h 5095933"/>
              <a:gd name="connsiteX12" fmla="*/ 3057677 w 12192417"/>
              <a:gd name="connsiteY12" fmla="*/ 383588 h 5095933"/>
              <a:gd name="connsiteX13" fmla="*/ 3464880 w 12192417"/>
              <a:gd name="connsiteY13" fmla="*/ 414415 h 5095933"/>
              <a:gd name="connsiteX14" fmla="*/ 3889151 w 12192417"/>
              <a:gd name="connsiteY14" fmla="*/ 443841 h 5095933"/>
              <a:gd name="connsiteX15" fmla="*/ 4331709 w 12192417"/>
              <a:gd name="connsiteY15" fmla="*/ 471515 h 5095933"/>
              <a:gd name="connsiteX16" fmla="*/ 4558475 w 12192417"/>
              <a:gd name="connsiteY16" fmla="*/ 481324 h 5095933"/>
              <a:gd name="connsiteX17" fmla="*/ 4790117 w 12192417"/>
              <a:gd name="connsiteY17" fmla="*/ 492183 h 5095933"/>
              <a:gd name="connsiteX18" fmla="*/ 5025417 w 12192417"/>
              <a:gd name="connsiteY18" fmla="*/ 502342 h 5095933"/>
              <a:gd name="connsiteX19" fmla="*/ 5261936 w 12192417"/>
              <a:gd name="connsiteY19" fmla="*/ 508998 h 5095933"/>
              <a:gd name="connsiteX20" fmla="*/ 5503331 w 12192417"/>
              <a:gd name="connsiteY20" fmla="*/ 514953 h 5095933"/>
              <a:gd name="connsiteX21" fmla="*/ 5747166 w 12192417"/>
              <a:gd name="connsiteY21" fmla="*/ 521259 h 5095933"/>
              <a:gd name="connsiteX22" fmla="*/ 5995876 w 12192417"/>
              <a:gd name="connsiteY22" fmla="*/ 525463 h 5095933"/>
              <a:gd name="connsiteX23" fmla="*/ 6247025 w 12192417"/>
              <a:gd name="connsiteY23" fmla="*/ 525463 h 5095933"/>
              <a:gd name="connsiteX24" fmla="*/ 6500612 w 12192417"/>
              <a:gd name="connsiteY24" fmla="*/ 527565 h 5095933"/>
              <a:gd name="connsiteX25" fmla="*/ 6756638 w 12192417"/>
              <a:gd name="connsiteY25" fmla="*/ 525463 h 5095933"/>
              <a:gd name="connsiteX26" fmla="*/ 7016321 w 12192417"/>
              <a:gd name="connsiteY26" fmla="*/ 521259 h 5095933"/>
              <a:gd name="connsiteX27" fmla="*/ 7276004 w 12192417"/>
              <a:gd name="connsiteY27" fmla="*/ 517406 h 5095933"/>
              <a:gd name="connsiteX28" fmla="*/ 7539344 w 12192417"/>
              <a:gd name="connsiteY28" fmla="*/ 508998 h 5095933"/>
              <a:gd name="connsiteX29" fmla="*/ 7805123 w 12192417"/>
              <a:gd name="connsiteY29" fmla="*/ 500241 h 5095933"/>
              <a:gd name="connsiteX30" fmla="*/ 8070902 w 12192417"/>
              <a:gd name="connsiteY30" fmla="*/ 490082 h 5095933"/>
              <a:gd name="connsiteX31" fmla="*/ 8339120 w 12192417"/>
              <a:gd name="connsiteY31" fmla="*/ 475719 h 5095933"/>
              <a:gd name="connsiteX32" fmla="*/ 8609775 w 12192417"/>
              <a:gd name="connsiteY32" fmla="*/ 458554 h 5095933"/>
              <a:gd name="connsiteX33" fmla="*/ 8881650 w 12192417"/>
              <a:gd name="connsiteY33" fmla="*/ 442089 h 5095933"/>
              <a:gd name="connsiteX34" fmla="*/ 9153525 w 12192417"/>
              <a:gd name="connsiteY34" fmla="*/ 421071 h 5095933"/>
              <a:gd name="connsiteX35" fmla="*/ 9429057 w 12192417"/>
              <a:gd name="connsiteY35" fmla="*/ 395849 h 5095933"/>
              <a:gd name="connsiteX36" fmla="*/ 9700932 w 12192417"/>
              <a:gd name="connsiteY36" fmla="*/ 370626 h 5095933"/>
              <a:gd name="connsiteX37" fmla="*/ 9977683 w 12192417"/>
              <a:gd name="connsiteY37" fmla="*/ 341551 h 5095933"/>
              <a:gd name="connsiteX38" fmla="*/ 10255654 w 12192417"/>
              <a:gd name="connsiteY38" fmla="*/ 309673 h 5095933"/>
              <a:gd name="connsiteX39" fmla="*/ 10529967 w 12192417"/>
              <a:gd name="connsiteY39" fmla="*/ 276043 h 5095933"/>
              <a:gd name="connsiteX40" fmla="*/ 10807938 w 12192417"/>
              <a:gd name="connsiteY40" fmla="*/ 236809 h 5095933"/>
              <a:gd name="connsiteX41" fmla="*/ 11084689 w 12192417"/>
              <a:gd name="connsiteY41" fmla="*/ 194772 h 5095933"/>
              <a:gd name="connsiteX42" fmla="*/ 11362660 w 12192417"/>
              <a:gd name="connsiteY42" fmla="*/ 153085 h 5095933"/>
              <a:gd name="connsiteX43" fmla="*/ 11639411 w 12192417"/>
              <a:gd name="connsiteY43" fmla="*/ 104392 h 5095933"/>
              <a:gd name="connsiteX44" fmla="*/ 11914944 w 12192417"/>
              <a:gd name="connsiteY44" fmla="*/ 54648 h 5095933"/>
              <a:gd name="connsiteX45" fmla="*/ 12191695 w 12192417"/>
              <a:gd name="connsiteY45" fmla="*/ 2452 h 5095933"/>
              <a:gd name="connsiteX46" fmla="*/ 12191695 w 12192417"/>
              <a:gd name="connsiteY46" fmla="*/ 2162231 h 5095933"/>
              <a:gd name="connsiteX47" fmla="*/ 12192417 w 12192417"/>
              <a:gd name="connsiteY47" fmla="*/ 2162231 h 5095933"/>
              <a:gd name="connsiteX48" fmla="*/ 12192417 w 12192417"/>
              <a:gd name="connsiteY48" fmla="*/ 5095933 h 5095933"/>
              <a:gd name="connsiteX49" fmla="*/ 0 w 12192417"/>
              <a:gd name="connsiteY49" fmla="*/ 5095933 h 5095933"/>
              <a:gd name="connsiteX50" fmla="*/ 0 w 12192417"/>
              <a:gd name="connsiteY50" fmla="*/ 2791958 h 5095933"/>
              <a:gd name="connsiteX51" fmla="*/ 0 w 12192417"/>
              <a:gd name="connsiteY51" fmla="*/ 2162231 h 5095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2192417" h="5095933">
                <a:moveTo>
                  <a:pt x="0" y="0"/>
                </a:moveTo>
                <a:lnTo>
                  <a:pt x="71931" y="12261"/>
                </a:lnTo>
                <a:lnTo>
                  <a:pt x="282848" y="48343"/>
                </a:lnTo>
                <a:lnTo>
                  <a:pt x="436463" y="73565"/>
                </a:lnTo>
                <a:lnTo>
                  <a:pt x="619338" y="100188"/>
                </a:lnTo>
                <a:lnTo>
                  <a:pt x="836350" y="132066"/>
                </a:lnTo>
                <a:lnTo>
                  <a:pt x="1076527" y="165696"/>
                </a:lnTo>
                <a:lnTo>
                  <a:pt x="1347183" y="201077"/>
                </a:lnTo>
                <a:lnTo>
                  <a:pt x="1642222" y="238560"/>
                </a:lnTo>
                <a:lnTo>
                  <a:pt x="1962863" y="276043"/>
                </a:lnTo>
                <a:lnTo>
                  <a:pt x="2304231" y="314227"/>
                </a:lnTo>
                <a:lnTo>
                  <a:pt x="2672420" y="349608"/>
                </a:lnTo>
                <a:lnTo>
                  <a:pt x="3057677" y="383588"/>
                </a:lnTo>
                <a:lnTo>
                  <a:pt x="3464880" y="414415"/>
                </a:lnTo>
                <a:lnTo>
                  <a:pt x="3889151" y="443841"/>
                </a:lnTo>
                <a:lnTo>
                  <a:pt x="4331709" y="471515"/>
                </a:lnTo>
                <a:lnTo>
                  <a:pt x="4558475" y="481324"/>
                </a:lnTo>
                <a:lnTo>
                  <a:pt x="4790117" y="492183"/>
                </a:lnTo>
                <a:lnTo>
                  <a:pt x="5025417" y="502342"/>
                </a:lnTo>
                <a:lnTo>
                  <a:pt x="5261936" y="508998"/>
                </a:lnTo>
                <a:lnTo>
                  <a:pt x="5503331" y="514953"/>
                </a:lnTo>
                <a:lnTo>
                  <a:pt x="5747166" y="521259"/>
                </a:lnTo>
                <a:lnTo>
                  <a:pt x="5995876" y="525463"/>
                </a:lnTo>
                <a:lnTo>
                  <a:pt x="6247025" y="525463"/>
                </a:lnTo>
                <a:lnTo>
                  <a:pt x="6500612" y="527565"/>
                </a:lnTo>
                <a:lnTo>
                  <a:pt x="6756638" y="525463"/>
                </a:lnTo>
                <a:lnTo>
                  <a:pt x="7016321" y="521259"/>
                </a:lnTo>
                <a:lnTo>
                  <a:pt x="7276004" y="517406"/>
                </a:lnTo>
                <a:lnTo>
                  <a:pt x="7539344" y="508998"/>
                </a:lnTo>
                <a:lnTo>
                  <a:pt x="7805123" y="500241"/>
                </a:lnTo>
                <a:lnTo>
                  <a:pt x="8070902" y="490082"/>
                </a:lnTo>
                <a:lnTo>
                  <a:pt x="8339120" y="475719"/>
                </a:lnTo>
                <a:lnTo>
                  <a:pt x="8609775" y="458554"/>
                </a:lnTo>
                <a:lnTo>
                  <a:pt x="8881650" y="442089"/>
                </a:lnTo>
                <a:lnTo>
                  <a:pt x="9153525" y="421071"/>
                </a:lnTo>
                <a:lnTo>
                  <a:pt x="9429057" y="395849"/>
                </a:lnTo>
                <a:lnTo>
                  <a:pt x="9700932" y="370626"/>
                </a:lnTo>
                <a:lnTo>
                  <a:pt x="9977683" y="341551"/>
                </a:lnTo>
                <a:lnTo>
                  <a:pt x="10255654" y="309673"/>
                </a:lnTo>
                <a:lnTo>
                  <a:pt x="10529967" y="276043"/>
                </a:lnTo>
                <a:lnTo>
                  <a:pt x="10807938" y="236809"/>
                </a:lnTo>
                <a:lnTo>
                  <a:pt x="11084689" y="194772"/>
                </a:lnTo>
                <a:lnTo>
                  <a:pt x="11362660" y="153085"/>
                </a:lnTo>
                <a:lnTo>
                  <a:pt x="11639411" y="104392"/>
                </a:lnTo>
                <a:lnTo>
                  <a:pt x="11914944" y="54648"/>
                </a:lnTo>
                <a:lnTo>
                  <a:pt x="12191695" y="2452"/>
                </a:lnTo>
                <a:lnTo>
                  <a:pt x="12191695" y="2162231"/>
                </a:lnTo>
                <a:lnTo>
                  <a:pt x="12192417" y="2162231"/>
                </a:lnTo>
                <a:lnTo>
                  <a:pt x="12192417" y="5095933"/>
                </a:lnTo>
                <a:lnTo>
                  <a:pt x="0" y="5095933"/>
                </a:lnTo>
                <a:lnTo>
                  <a:pt x="0" y="2791958"/>
                </a:lnTo>
                <a:lnTo>
                  <a:pt x="0" y="2162231"/>
                </a:lnTo>
                <a:close/>
              </a:path>
            </a:pathLst>
          </a:custGeom>
          <a:ln>
            <a:noFill/>
          </a:ln>
        </p:spPr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52DEB6-587F-4410-838F-3EA0BE6739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3312" y="452718"/>
            <a:ext cx="8947522" cy="1400530"/>
          </a:xfrm>
        </p:spPr>
        <p:txBody>
          <a:bodyPr anchor="ctr">
            <a:normAutofit/>
          </a:bodyPr>
          <a:lstStyle/>
          <a:p>
            <a:r>
              <a:rPr lang="en-US">
                <a:solidFill>
                  <a:srgbClr val="FFFFFF"/>
                </a:solidFill>
              </a:rPr>
              <a:t>Goal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9D51ADC-F182-41F2-8691-70FC90138F41}"/>
              </a:ext>
            </a:extLst>
          </p:cNvPr>
          <p:cNvSpPr txBox="1"/>
          <p:nvPr/>
        </p:nvSpPr>
        <p:spPr>
          <a:xfrm>
            <a:off x="374552" y="2725179"/>
            <a:ext cx="1847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  <a:p>
            <a:endParaRPr lang="en-US"/>
          </a:p>
        </p:txBody>
      </p:sp>
      <p:graphicFrame>
        <p:nvGraphicFramePr>
          <p:cNvPr id="12" name="Content Placeholder 3">
            <a:extLst>
              <a:ext uri="{FF2B5EF4-FFF2-40B4-BE49-F238E27FC236}">
                <a16:creationId xmlns:a16="http://schemas.microsoft.com/office/drawing/2014/main" id="{1D0808B6-2E9F-3AFC-EA94-7CDD4DB0F18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4413873"/>
              </p:ext>
            </p:extLst>
          </p:nvPr>
        </p:nvGraphicFramePr>
        <p:xfrm>
          <a:off x="467017" y="2393356"/>
          <a:ext cx="6922404" cy="43075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30" name="Picture 430" descr="Two colleagues planning on board with sticky notes">
            <a:extLst>
              <a:ext uri="{FF2B5EF4-FFF2-40B4-BE49-F238E27FC236}">
                <a16:creationId xmlns:a16="http://schemas.microsoft.com/office/drawing/2014/main" id="{50ECD1A8-0373-42CB-4118-0D9625D89E2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27962" y="3046406"/>
            <a:ext cx="3798275" cy="253341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2788782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5j5z47TyiZWNgUfQbq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eRTd0JrPbpgk6CX_Uw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eRTd0JrPbpgk6CX_UwSg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theme1.xml><?xml version="1.0" encoding="utf-8"?>
<a:theme xmlns:a="http://schemas.openxmlformats.org/drawingml/2006/main" name="2_Office Theme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7E0928"/>
      </a:accent1>
      <a:accent2>
        <a:srgbClr val="660B27"/>
      </a:accent2>
      <a:accent3>
        <a:srgbClr val="2A2A2A"/>
      </a:accent3>
      <a:accent4>
        <a:srgbClr val="BEBEBE"/>
      </a:accent4>
      <a:accent5>
        <a:srgbClr val="646464"/>
      </a:accent5>
      <a:accent6>
        <a:srgbClr val="4B0021"/>
      </a:accent6>
      <a:hlink>
        <a:srgbClr val="7D0928"/>
      </a:hlink>
      <a:folHlink>
        <a:srgbClr val="4B0021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Office Theme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7E0928"/>
      </a:accent1>
      <a:accent2>
        <a:srgbClr val="660B27"/>
      </a:accent2>
      <a:accent3>
        <a:srgbClr val="2A2A2A"/>
      </a:accent3>
      <a:accent4>
        <a:srgbClr val="BEBEBE"/>
      </a:accent4>
      <a:accent5>
        <a:srgbClr val="646464"/>
      </a:accent5>
      <a:accent6>
        <a:srgbClr val="4B0021"/>
      </a:accent6>
      <a:hlink>
        <a:srgbClr val="7D0928"/>
      </a:hlink>
      <a:folHlink>
        <a:srgbClr val="4B0021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Ion">
  <a:themeElements>
    <a:clrScheme name="Custom 2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99003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4849A"/>
      </a:accent5>
      <a:accent6>
        <a:srgbClr val="9E5E9B"/>
      </a:accent6>
      <a:hlink>
        <a:srgbClr val="58C1BA"/>
      </a:hlink>
      <a:folHlink>
        <a:srgbClr val="9DFFCB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" id="{B8441ADB-2E43-4AF7-B97A-BD870242C6A8}" vid="{292E63A9-BB86-4E3D-B92A-7223C6510D2E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94A9861D0BCBE41AC7E65369C75FED8" ma:contentTypeVersion="11" ma:contentTypeDescription="Create a new document." ma:contentTypeScope="" ma:versionID="d4efbc3d03fd06d75a0acb08b20c90a6">
  <xsd:schema xmlns:xsd="http://www.w3.org/2001/XMLSchema" xmlns:xs="http://www.w3.org/2001/XMLSchema" xmlns:p="http://schemas.microsoft.com/office/2006/metadata/properties" xmlns:ns2="1e8ffdb7-70ec-454b-910f-42f60d5b2439" xmlns:ns3="aecfac28-cea9-4563-b85c-a07550f3cc9a" targetNamespace="http://schemas.microsoft.com/office/2006/metadata/properties" ma:root="true" ma:fieldsID="9cfbacaa8ae50912d4a79819cc6c6212" ns2:_="" ns3:_="">
    <xsd:import namespace="1e8ffdb7-70ec-454b-910f-42f60d5b2439"/>
    <xsd:import namespace="aecfac28-cea9-4563-b85c-a07550f3cc9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8ffdb7-70ec-454b-910f-42f60d5b24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cfac28-cea9-4563-b85c-a07550f3cc9a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22B3FEC-0AAE-450C-A07D-EE3DE21910E5}">
  <ds:schemaRefs>
    <ds:schemaRef ds:uri="1e8ffdb7-70ec-454b-910f-42f60d5b2439"/>
    <ds:schemaRef ds:uri="aecfac28-cea9-4563-b85c-a07550f3cc9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246A596-6CF9-454E-AE6A-6D0B71141EBE}">
  <ds:schemaRefs>
    <ds:schemaRef ds:uri="1e8ffdb7-70ec-454b-910f-42f60d5b2439"/>
    <ds:schemaRef ds:uri="aecfac28-cea9-4563-b85c-a07550f3cc9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3ADFA8C-6E5C-4D2A-B426-06BC5CE10BE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33</Slides>
  <Notes>3</Notes>
  <HiddenSlides>0</HiddenSlide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33</vt:i4>
      </vt:variant>
    </vt:vector>
  </HeadingPairs>
  <TitlesOfParts>
    <vt:vector size="36" baseType="lpstr">
      <vt:lpstr>2_Office Theme</vt:lpstr>
      <vt:lpstr>5_Office Theme</vt:lpstr>
      <vt:lpstr>Ion</vt:lpstr>
      <vt:lpstr>IT as a Service (ITaaS)</vt:lpstr>
      <vt:lpstr>IT as a Service - Vision</vt:lpstr>
      <vt:lpstr>ITaaS Service Portfolio</vt:lpstr>
      <vt:lpstr>ITaaS Service Portfolio</vt:lpstr>
      <vt:lpstr>ITaaS Guiding Principles</vt:lpstr>
      <vt:lpstr>IT as a Service - SLA Structure</vt:lpstr>
      <vt:lpstr>Service Offerings, Status, and Participation</vt:lpstr>
      <vt:lpstr>Systems and Engineering as a Service (SaaS)</vt:lpstr>
      <vt:lpstr>Goals</vt:lpstr>
      <vt:lpstr>Today</vt:lpstr>
      <vt:lpstr>Monitoring, Alerting, Inventory- SolarWinds</vt:lpstr>
      <vt:lpstr>Patch Management - Ivanti</vt:lpstr>
      <vt:lpstr>Vulnerability Scanning - Qualys</vt:lpstr>
      <vt:lpstr>Backup &amp; Disaster Recovery - Veeam</vt:lpstr>
      <vt:lpstr>Logging and Security Analytics</vt:lpstr>
      <vt:lpstr>Identity Management</vt:lpstr>
      <vt:lpstr>Office 365 &amp; Azure</vt:lpstr>
      <vt:lpstr>Architecture</vt:lpstr>
      <vt:lpstr>ITaaS Data Center Network</vt:lpstr>
      <vt:lpstr>ITaaS Data Center and Delivery Network</vt:lpstr>
      <vt:lpstr>Design Consulting Assistance</vt:lpstr>
      <vt:lpstr>Guiding Principles</vt:lpstr>
      <vt:lpstr>Network Overview</vt:lpstr>
      <vt:lpstr>Network Overview</vt:lpstr>
      <vt:lpstr>PowerPoint Presentation</vt:lpstr>
      <vt:lpstr>Network Hardware Details</vt:lpstr>
      <vt:lpstr>PowerPoint Presentation</vt:lpstr>
      <vt:lpstr>What Is VMware NSX-T?</vt:lpstr>
      <vt:lpstr>NSX Networking</vt:lpstr>
      <vt:lpstr>What Is GSLB?</vt:lpstr>
      <vt:lpstr>Out of Band Management</vt:lpstr>
      <vt:lpstr>Where Are We Today?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T as a Service (ITaaS)</dc:title>
  <dc:creator>Steven Hopper</dc:creator>
  <cp:revision>2</cp:revision>
  <cp:lastPrinted>2021-03-01T15:11:52Z</cp:lastPrinted>
  <dcterms:created xsi:type="dcterms:W3CDTF">2020-09-11T05:05:45Z</dcterms:created>
  <dcterms:modified xsi:type="dcterms:W3CDTF">2022-05-26T10:55:03Z</dcterms:modified>
</cp:coreProperties>
</file>